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48" r:id="rId1"/>
  </p:sldMasterIdLst>
  <p:notesMasterIdLst>
    <p:notesMasterId r:id="rId38"/>
  </p:notesMasterIdLst>
  <p:handoutMasterIdLst>
    <p:handoutMasterId r:id="rId39"/>
  </p:handoutMasterIdLst>
  <p:sldIdLst>
    <p:sldId id="1947" r:id="rId2"/>
    <p:sldId id="1955" r:id="rId3"/>
    <p:sldId id="1952" r:id="rId4"/>
    <p:sldId id="1949" r:id="rId5"/>
    <p:sldId id="1950" r:id="rId6"/>
    <p:sldId id="1957" r:id="rId7"/>
    <p:sldId id="1958" r:id="rId8"/>
    <p:sldId id="1962" r:id="rId9"/>
    <p:sldId id="1975" r:id="rId10"/>
    <p:sldId id="1976" r:id="rId11"/>
    <p:sldId id="1977" r:id="rId12"/>
    <p:sldId id="1978" r:id="rId13"/>
    <p:sldId id="1979" r:id="rId14"/>
    <p:sldId id="1980" r:id="rId15"/>
    <p:sldId id="1981" r:id="rId16"/>
    <p:sldId id="1982" r:id="rId17"/>
    <p:sldId id="1951" r:id="rId18"/>
    <p:sldId id="1959" r:id="rId19"/>
    <p:sldId id="1961" r:id="rId20"/>
    <p:sldId id="1983" r:id="rId21"/>
    <p:sldId id="1984" r:id="rId22"/>
    <p:sldId id="1986" r:id="rId23"/>
    <p:sldId id="1953" r:id="rId24"/>
    <p:sldId id="1956" r:id="rId25"/>
    <p:sldId id="1965" r:id="rId26"/>
    <p:sldId id="1974" r:id="rId27"/>
    <p:sldId id="1963" r:id="rId28"/>
    <p:sldId id="1966" r:id="rId29"/>
    <p:sldId id="1964" r:id="rId30"/>
    <p:sldId id="1967" r:id="rId31"/>
    <p:sldId id="1968" r:id="rId32"/>
    <p:sldId id="1969" r:id="rId33"/>
    <p:sldId id="1970" r:id="rId34"/>
    <p:sldId id="1971" r:id="rId35"/>
    <p:sldId id="1972" r:id="rId36"/>
    <p:sldId id="1973" r:id="rId37"/>
  </p:sldIdLst>
  <p:sldSz cx="9144000" cy="6858000" type="screen4x3"/>
  <p:notesSz cx="6858000" cy="9661525"/>
  <p:custShowLst>
    <p:custShow name="Mustermann1" id="0">
      <p:sldLst/>
    </p:custShow>
  </p:custShowLst>
  <p:custDataLst>
    <p:tags r:id="rId40"/>
  </p:custDataLst>
  <p:defaultTextStyle>
    <a:defPPr>
      <a:defRPr lang="en-US"/>
    </a:defPPr>
    <a:lvl1pPr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1pPr>
    <a:lvl2pPr marL="4572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2pPr>
    <a:lvl3pPr marL="9144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3pPr>
    <a:lvl4pPr marL="13716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4pPr>
    <a:lvl5pPr marL="18288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5pPr>
    <a:lvl6pPr marL="22860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6pPr>
    <a:lvl7pPr marL="27432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7pPr>
    <a:lvl8pPr marL="32004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8pPr>
    <a:lvl9pPr marL="36576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9">
          <p15:clr>
            <a:srgbClr val="A4A3A4"/>
          </p15:clr>
        </p15:guide>
        <p15:guide id="2" orient="horz" pos="3867">
          <p15:clr>
            <a:srgbClr val="A4A3A4"/>
          </p15:clr>
        </p15:guide>
        <p15:guide id="3" orient="horz" pos="801">
          <p15:clr>
            <a:srgbClr val="A4A3A4"/>
          </p15:clr>
        </p15:guide>
        <p15:guide id="4" orient="horz" pos="534">
          <p15:clr>
            <a:srgbClr val="A4A3A4"/>
          </p15:clr>
        </p15:guide>
        <p15:guide id="5" orient="horz" pos="703">
          <p15:clr>
            <a:srgbClr val="A4A3A4"/>
          </p15:clr>
        </p15:guide>
        <p15:guide id="6" orient="horz" pos="4121">
          <p15:clr>
            <a:srgbClr val="A4A3A4"/>
          </p15:clr>
        </p15:guide>
        <p15:guide id="7" orient="horz" pos="702">
          <p15:clr>
            <a:srgbClr val="A4A3A4"/>
          </p15:clr>
        </p15:guide>
        <p15:guide id="8" orient="horz" pos="1092">
          <p15:clr>
            <a:srgbClr val="A4A3A4"/>
          </p15:clr>
        </p15:guide>
        <p15:guide id="9" pos="5447">
          <p15:clr>
            <a:srgbClr val="A4A3A4"/>
          </p15:clr>
        </p15:guide>
        <p15:guide id="10" pos="2955">
          <p15:clr>
            <a:srgbClr val="A4A3A4"/>
          </p15:clr>
        </p15:guide>
        <p15:guide id="11" pos="367">
          <p15:clr>
            <a:srgbClr val="A4A3A4"/>
          </p15:clr>
        </p15:guide>
        <p15:guide id="12" pos="1394">
          <p15:clr>
            <a:srgbClr val="A4A3A4"/>
          </p15:clr>
        </p15:guide>
        <p15:guide id="13" pos="130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43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377E"/>
    <a:srgbClr val="FF3300"/>
    <a:srgbClr val="800000"/>
    <a:srgbClr val="990000"/>
    <a:srgbClr val="CC0000"/>
    <a:srgbClr val="FFCC00"/>
    <a:srgbClr val="005EAD"/>
    <a:srgbClr val="002F52"/>
    <a:srgbClr val="0037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34559" autoAdjust="0"/>
    <p:restoredTop sz="94646" autoAdjust="0"/>
  </p:normalViewPr>
  <p:slideViewPr>
    <p:cSldViewPr snapToGrid="0" showGuides="1">
      <p:cViewPr varScale="1">
        <p:scale>
          <a:sx n="103" d="100"/>
          <a:sy n="103" d="100"/>
        </p:scale>
        <p:origin x="1452" y="102"/>
      </p:cViewPr>
      <p:guideLst>
        <p:guide orient="horz" pos="119"/>
        <p:guide orient="horz" pos="3867"/>
        <p:guide orient="horz" pos="801"/>
        <p:guide orient="horz" pos="534"/>
        <p:guide orient="horz" pos="703"/>
        <p:guide orient="horz" pos="4121"/>
        <p:guide orient="horz" pos="702"/>
        <p:guide orient="horz" pos="1092"/>
        <p:guide pos="5447"/>
        <p:guide pos="2955"/>
        <p:guide pos="367"/>
        <p:guide pos="1394"/>
        <p:guide pos="130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121" d="100"/>
          <a:sy n="121" d="100"/>
        </p:scale>
        <p:origin x="-312" y="-112"/>
      </p:cViewPr>
      <p:guideLst>
        <p:guide orient="horz" pos="3043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handoutMaster" Target="handoutMasters/handoutMaster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0BC96FD-B857-44A7-964A-652F6B60A596}" type="doc">
      <dgm:prSet loTypeId="urn:microsoft.com/office/officeart/2005/8/layout/vList5" loCatId="list" qsTypeId="urn:microsoft.com/office/officeart/2005/8/quickstyle/simple1" qsCatId="simple" csTypeId="urn:microsoft.com/office/officeart/2005/8/colors/accent2_3" csCatId="accent2"/>
      <dgm:spPr/>
      <dgm:t>
        <a:bodyPr/>
        <a:lstStyle/>
        <a:p>
          <a:endParaRPr lang="de-DE"/>
        </a:p>
      </dgm:t>
    </dgm:pt>
    <dgm:pt modelId="{C0AF1D52-1CBA-4261-8857-2FE1CDE40C0E}">
      <dgm:prSet/>
      <dgm:spPr/>
      <dgm:t>
        <a:bodyPr/>
        <a:lstStyle/>
        <a:p>
          <a:r>
            <a:rPr lang="de-DE" dirty="0"/>
            <a:t>Überblick Transfermarkt</a:t>
          </a:r>
        </a:p>
      </dgm:t>
    </dgm:pt>
    <dgm:pt modelId="{4ADF81E3-62CB-4E26-B442-833BB74936C9}" type="parTrans" cxnId="{D10D87B2-2BD7-4344-A54C-B42215D2B7A7}">
      <dgm:prSet/>
      <dgm:spPr/>
      <dgm:t>
        <a:bodyPr/>
        <a:lstStyle/>
        <a:p>
          <a:endParaRPr lang="de-DE"/>
        </a:p>
      </dgm:t>
    </dgm:pt>
    <dgm:pt modelId="{64695C0E-2FBB-4056-ACAC-C9F1B202DF07}" type="sibTrans" cxnId="{D10D87B2-2BD7-4344-A54C-B42215D2B7A7}">
      <dgm:prSet/>
      <dgm:spPr/>
      <dgm:t>
        <a:bodyPr/>
        <a:lstStyle/>
        <a:p>
          <a:endParaRPr lang="de-DE"/>
        </a:p>
      </dgm:t>
    </dgm:pt>
    <dgm:pt modelId="{843B6852-0AA5-4744-9479-56AFDD38D5F5}">
      <dgm:prSet/>
      <dgm:spPr/>
      <dgm:t>
        <a:bodyPr/>
        <a:lstStyle/>
        <a:p>
          <a:r>
            <a:rPr lang="de-DE"/>
            <a:t>Zwischenstand Web-Scraping</a:t>
          </a:r>
        </a:p>
      </dgm:t>
    </dgm:pt>
    <dgm:pt modelId="{074438D9-1139-48DB-94D9-3A45599BACDF}" type="parTrans" cxnId="{19E79DE5-16BD-4470-A391-D24A93A2ACF6}">
      <dgm:prSet/>
      <dgm:spPr/>
      <dgm:t>
        <a:bodyPr/>
        <a:lstStyle/>
        <a:p>
          <a:endParaRPr lang="de-DE"/>
        </a:p>
      </dgm:t>
    </dgm:pt>
    <dgm:pt modelId="{0E9BB6C0-A5E1-4A13-8553-6ADD424A818B}" type="sibTrans" cxnId="{19E79DE5-16BD-4470-A391-D24A93A2ACF6}">
      <dgm:prSet/>
      <dgm:spPr/>
      <dgm:t>
        <a:bodyPr/>
        <a:lstStyle/>
        <a:p>
          <a:endParaRPr lang="de-DE"/>
        </a:p>
      </dgm:t>
    </dgm:pt>
    <dgm:pt modelId="{126AE852-739C-45BF-AE90-AA8C6063346F}">
      <dgm:prSet/>
      <dgm:spPr/>
      <dgm:t>
        <a:bodyPr/>
        <a:lstStyle/>
        <a:p>
          <a:r>
            <a:rPr lang="de-DE"/>
            <a:t>Benchmarking</a:t>
          </a:r>
        </a:p>
      </dgm:t>
    </dgm:pt>
    <dgm:pt modelId="{DA7A3FDC-64BB-4C7F-8412-100C83FF2AE6}" type="parTrans" cxnId="{E6C9D057-F0C5-4D70-80C1-755BE7F5C2FB}">
      <dgm:prSet/>
      <dgm:spPr/>
      <dgm:t>
        <a:bodyPr/>
        <a:lstStyle/>
        <a:p>
          <a:endParaRPr lang="de-DE"/>
        </a:p>
      </dgm:t>
    </dgm:pt>
    <dgm:pt modelId="{15A03D51-020B-460E-A388-564AA11F07DC}" type="sibTrans" cxnId="{E6C9D057-F0C5-4D70-80C1-755BE7F5C2FB}">
      <dgm:prSet/>
      <dgm:spPr/>
      <dgm:t>
        <a:bodyPr/>
        <a:lstStyle/>
        <a:p>
          <a:endParaRPr lang="de-DE"/>
        </a:p>
      </dgm:t>
    </dgm:pt>
    <dgm:pt modelId="{6509B46A-26D9-4492-94D2-9F7A41D9D071}">
      <dgm:prSet/>
      <dgm:spPr/>
      <dgm:t>
        <a:bodyPr/>
        <a:lstStyle/>
        <a:p>
          <a:r>
            <a:rPr lang="de-DE"/>
            <a:t>Next Steps</a:t>
          </a:r>
        </a:p>
      </dgm:t>
    </dgm:pt>
    <dgm:pt modelId="{35361A17-7322-4CF5-817C-500EEEC5FFCF}" type="parTrans" cxnId="{B4DC361E-9B75-47F9-9D45-A3E907152E71}">
      <dgm:prSet/>
      <dgm:spPr/>
      <dgm:t>
        <a:bodyPr/>
        <a:lstStyle/>
        <a:p>
          <a:endParaRPr lang="de-DE"/>
        </a:p>
      </dgm:t>
    </dgm:pt>
    <dgm:pt modelId="{EE086FA0-5E66-46A4-B46A-4F81A7CCE1ED}" type="sibTrans" cxnId="{B4DC361E-9B75-47F9-9D45-A3E907152E71}">
      <dgm:prSet/>
      <dgm:spPr/>
      <dgm:t>
        <a:bodyPr/>
        <a:lstStyle/>
        <a:p>
          <a:endParaRPr lang="de-DE"/>
        </a:p>
      </dgm:t>
    </dgm:pt>
    <dgm:pt modelId="{7FCE9753-5206-4184-BE9F-0983E11CDEF6}" type="pres">
      <dgm:prSet presAssocID="{F0BC96FD-B857-44A7-964A-652F6B60A596}" presName="Name0" presStyleCnt="0">
        <dgm:presLayoutVars>
          <dgm:dir/>
          <dgm:animLvl val="lvl"/>
          <dgm:resizeHandles val="exact"/>
        </dgm:presLayoutVars>
      </dgm:prSet>
      <dgm:spPr/>
    </dgm:pt>
    <dgm:pt modelId="{A6B19B8E-CD5F-4290-859B-D1C08D3D6B07}" type="pres">
      <dgm:prSet presAssocID="{C0AF1D52-1CBA-4261-8857-2FE1CDE40C0E}" presName="linNode" presStyleCnt="0"/>
      <dgm:spPr/>
    </dgm:pt>
    <dgm:pt modelId="{EE27A2A2-10DA-41FA-9E19-4DFDB4331D40}" type="pres">
      <dgm:prSet presAssocID="{C0AF1D52-1CBA-4261-8857-2FE1CDE40C0E}" presName="parentText" presStyleLbl="node1" presStyleIdx="0" presStyleCnt="4">
        <dgm:presLayoutVars>
          <dgm:chMax val="1"/>
          <dgm:bulletEnabled val="1"/>
        </dgm:presLayoutVars>
      </dgm:prSet>
      <dgm:spPr/>
    </dgm:pt>
    <dgm:pt modelId="{84A4B988-6C70-44B8-BAB2-B23705298AA6}" type="pres">
      <dgm:prSet presAssocID="{64695C0E-2FBB-4056-ACAC-C9F1B202DF07}" presName="sp" presStyleCnt="0"/>
      <dgm:spPr/>
    </dgm:pt>
    <dgm:pt modelId="{B83249CB-D8AE-420F-BA66-BB30F9DCBD89}" type="pres">
      <dgm:prSet presAssocID="{843B6852-0AA5-4744-9479-56AFDD38D5F5}" presName="linNode" presStyleCnt="0"/>
      <dgm:spPr/>
    </dgm:pt>
    <dgm:pt modelId="{95715669-8423-43AC-AAE0-14D3390F5CFC}" type="pres">
      <dgm:prSet presAssocID="{843B6852-0AA5-4744-9479-56AFDD38D5F5}" presName="parentText" presStyleLbl="node1" presStyleIdx="1" presStyleCnt="4">
        <dgm:presLayoutVars>
          <dgm:chMax val="1"/>
          <dgm:bulletEnabled val="1"/>
        </dgm:presLayoutVars>
      </dgm:prSet>
      <dgm:spPr/>
    </dgm:pt>
    <dgm:pt modelId="{E54D9F91-E2A7-4A04-9D96-C91B504B83C3}" type="pres">
      <dgm:prSet presAssocID="{0E9BB6C0-A5E1-4A13-8553-6ADD424A818B}" presName="sp" presStyleCnt="0"/>
      <dgm:spPr/>
    </dgm:pt>
    <dgm:pt modelId="{17680008-BAD6-40AA-AF07-9643C565B265}" type="pres">
      <dgm:prSet presAssocID="{126AE852-739C-45BF-AE90-AA8C6063346F}" presName="linNode" presStyleCnt="0"/>
      <dgm:spPr/>
    </dgm:pt>
    <dgm:pt modelId="{D3876921-7BEB-4E83-B399-BA9C72B8EBB3}" type="pres">
      <dgm:prSet presAssocID="{126AE852-739C-45BF-AE90-AA8C6063346F}" presName="parentText" presStyleLbl="node1" presStyleIdx="2" presStyleCnt="4">
        <dgm:presLayoutVars>
          <dgm:chMax val="1"/>
          <dgm:bulletEnabled val="1"/>
        </dgm:presLayoutVars>
      </dgm:prSet>
      <dgm:spPr/>
    </dgm:pt>
    <dgm:pt modelId="{6AEB81C3-805F-49A4-8439-5DD74037EB5C}" type="pres">
      <dgm:prSet presAssocID="{15A03D51-020B-460E-A388-564AA11F07DC}" presName="sp" presStyleCnt="0"/>
      <dgm:spPr/>
    </dgm:pt>
    <dgm:pt modelId="{F873983D-9A8A-471F-9EDE-D6EC5D7A3863}" type="pres">
      <dgm:prSet presAssocID="{6509B46A-26D9-4492-94D2-9F7A41D9D071}" presName="linNode" presStyleCnt="0"/>
      <dgm:spPr/>
    </dgm:pt>
    <dgm:pt modelId="{ECDB91A6-652D-454F-B65A-30749F0E0B14}" type="pres">
      <dgm:prSet presAssocID="{6509B46A-26D9-4492-94D2-9F7A41D9D071}" presName="parentText" presStyleLbl="node1" presStyleIdx="3" presStyleCnt="4">
        <dgm:presLayoutVars>
          <dgm:chMax val="1"/>
          <dgm:bulletEnabled val="1"/>
        </dgm:presLayoutVars>
      </dgm:prSet>
      <dgm:spPr/>
    </dgm:pt>
  </dgm:ptLst>
  <dgm:cxnLst>
    <dgm:cxn modelId="{FE735B0C-BE92-4E0B-9B03-88F6131BE14E}" type="presOf" srcId="{843B6852-0AA5-4744-9479-56AFDD38D5F5}" destId="{95715669-8423-43AC-AAE0-14D3390F5CFC}" srcOrd="0" destOrd="0" presId="urn:microsoft.com/office/officeart/2005/8/layout/vList5"/>
    <dgm:cxn modelId="{B4DC361E-9B75-47F9-9D45-A3E907152E71}" srcId="{F0BC96FD-B857-44A7-964A-652F6B60A596}" destId="{6509B46A-26D9-4492-94D2-9F7A41D9D071}" srcOrd="3" destOrd="0" parTransId="{35361A17-7322-4CF5-817C-500EEEC5FFCF}" sibTransId="{EE086FA0-5E66-46A4-B46A-4F81A7CCE1ED}"/>
    <dgm:cxn modelId="{A6D5FE20-B3CC-418D-95C2-860B92C280F2}" type="presOf" srcId="{C0AF1D52-1CBA-4261-8857-2FE1CDE40C0E}" destId="{EE27A2A2-10DA-41FA-9E19-4DFDB4331D40}" srcOrd="0" destOrd="0" presId="urn:microsoft.com/office/officeart/2005/8/layout/vList5"/>
    <dgm:cxn modelId="{29BEA42A-988D-477D-A6FC-564E653E6753}" type="presOf" srcId="{126AE852-739C-45BF-AE90-AA8C6063346F}" destId="{D3876921-7BEB-4E83-B399-BA9C72B8EBB3}" srcOrd="0" destOrd="0" presId="urn:microsoft.com/office/officeart/2005/8/layout/vList5"/>
    <dgm:cxn modelId="{B821023A-FAA0-4125-AC0C-14E080610CED}" type="presOf" srcId="{F0BC96FD-B857-44A7-964A-652F6B60A596}" destId="{7FCE9753-5206-4184-BE9F-0983E11CDEF6}" srcOrd="0" destOrd="0" presId="urn:microsoft.com/office/officeart/2005/8/layout/vList5"/>
    <dgm:cxn modelId="{E090396E-5536-408C-BFBC-A5E2EE5D4BB9}" type="presOf" srcId="{6509B46A-26D9-4492-94D2-9F7A41D9D071}" destId="{ECDB91A6-652D-454F-B65A-30749F0E0B14}" srcOrd="0" destOrd="0" presId="urn:microsoft.com/office/officeart/2005/8/layout/vList5"/>
    <dgm:cxn modelId="{E6C9D057-F0C5-4D70-80C1-755BE7F5C2FB}" srcId="{F0BC96FD-B857-44A7-964A-652F6B60A596}" destId="{126AE852-739C-45BF-AE90-AA8C6063346F}" srcOrd="2" destOrd="0" parTransId="{DA7A3FDC-64BB-4C7F-8412-100C83FF2AE6}" sibTransId="{15A03D51-020B-460E-A388-564AA11F07DC}"/>
    <dgm:cxn modelId="{D10D87B2-2BD7-4344-A54C-B42215D2B7A7}" srcId="{F0BC96FD-B857-44A7-964A-652F6B60A596}" destId="{C0AF1D52-1CBA-4261-8857-2FE1CDE40C0E}" srcOrd="0" destOrd="0" parTransId="{4ADF81E3-62CB-4E26-B442-833BB74936C9}" sibTransId="{64695C0E-2FBB-4056-ACAC-C9F1B202DF07}"/>
    <dgm:cxn modelId="{19E79DE5-16BD-4470-A391-D24A93A2ACF6}" srcId="{F0BC96FD-B857-44A7-964A-652F6B60A596}" destId="{843B6852-0AA5-4744-9479-56AFDD38D5F5}" srcOrd="1" destOrd="0" parTransId="{074438D9-1139-48DB-94D9-3A45599BACDF}" sibTransId="{0E9BB6C0-A5E1-4A13-8553-6ADD424A818B}"/>
    <dgm:cxn modelId="{D675AD14-B7E6-4F35-A769-81E5FEF842C9}" type="presParOf" srcId="{7FCE9753-5206-4184-BE9F-0983E11CDEF6}" destId="{A6B19B8E-CD5F-4290-859B-D1C08D3D6B07}" srcOrd="0" destOrd="0" presId="urn:microsoft.com/office/officeart/2005/8/layout/vList5"/>
    <dgm:cxn modelId="{0EDE85C2-1DAA-4B9F-8DFC-B7444ABE3B6D}" type="presParOf" srcId="{A6B19B8E-CD5F-4290-859B-D1C08D3D6B07}" destId="{EE27A2A2-10DA-41FA-9E19-4DFDB4331D40}" srcOrd="0" destOrd="0" presId="urn:microsoft.com/office/officeart/2005/8/layout/vList5"/>
    <dgm:cxn modelId="{0CB5AA44-4F0E-4F49-8D4D-E0603222FB2A}" type="presParOf" srcId="{7FCE9753-5206-4184-BE9F-0983E11CDEF6}" destId="{84A4B988-6C70-44B8-BAB2-B23705298AA6}" srcOrd="1" destOrd="0" presId="urn:microsoft.com/office/officeart/2005/8/layout/vList5"/>
    <dgm:cxn modelId="{8D2CFD0A-DB04-4896-960B-3E1F5974C7E3}" type="presParOf" srcId="{7FCE9753-5206-4184-BE9F-0983E11CDEF6}" destId="{B83249CB-D8AE-420F-BA66-BB30F9DCBD89}" srcOrd="2" destOrd="0" presId="urn:microsoft.com/office/officeart/2005/8/layout/vList5"/>
    <dgm:cxn modelId="{D2080D81-4C67-42F9-B79F-E181C1394324}" type="presParOf" srcId="{B83249CB-D8AE-420F-BA66-BB30F9DCBD89}" destId="{95715669-8423-43AC-AAE0-14D3390F5CFC}" srcOrd="0" destOrd="0" presId="urn:microsoft.com/office/officeart/2005/8/layout/vList5"/>
    <dgm:cxn modelId="{F3D54608-FA30-4E67-BE5F-1F4C5E484C1A}" type="presParOf" srcId="{7FCE9753-5206-4184-BE9F-0983E11CDEF6}" destId="{E54D9F91-E2A7-4A04-9D96-C91B504B83C3}" srcOrd="3" destOrd="0" presId="urn:microsoft.com/office/officeart/2005/8/layout/vList5"/>
    <dgm:cxn modelId="{00DD597C-B5A2-4B60-8D16-FDCB35CE3C5B}" type="presParOf" srcId="{7FCE9753-5206-4184-BE9F-0983E11CDEF6}" destId="{17680008-BAD6-40AA-AF07-9643C565B265}" srcOrd="4" destOrd="0" presId="urn:microsoft.com/office/officeart/2005/8/layout/vList5"/>
    <dgm:cxn modelId="{2FD91845-36C5-438C-851D-A57592FBFA5B}" type="presParOf" srcId="{17680008-BAD6-40AA-AF07-9643C565B265}" destId="{D3876921-7BEB-4E83-B399-BA9C72B8EBB3}" srcOrd="0" destOrd="0" presId="urn:microsoft.com/office/officeart/2005/8/layout/vList5"/>
    <dgm:cxn modelId="{A6DE7EEB-F948-40A7-BE5F-58B4FB9E8C88}" type="presParOf" srcId="{7FCE9753-5206-4184-BE9F-0983E11CDEF6}" destId="{6AEB81C3-805F-49A4-8439-5DD74037EB5C}" srcOrd="5" destOrd="0" presId="urn:microsoft.com/office/officeart/2005/8/layout/vList5"/>
    <dgm:cxn modelId="{C30BAB44-2437-43A9-AF70-EF4BA154BB63}" type="presParOf" srcId="{7FCE9753-5206-4184-BE9F-0983E11CDEF6}" destId="{F873983D-9A8A-471F-9EDE-D6EC5D7A3863}" srcOrd="6" destOrd="0" presId="urn:microsoft.com/office/officeart/2005/8/layout/vList5"/>
    <dgm:cxn modelId="{84E3C2BC-902C-4319-BD19-D6B2764EFBA3}" type="presParOf" srcId="{F873983D-9A8A-471F-9EDE-D6EC5D7A3863}" destId="{ECDB91A6-652D-454F-B65A-30749F0E0B14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E629B0C-2751-4D99-9525-1D5326645973}" type="doc">
      <dgm:prSet loTypeId="urn:microsoft.com/office/officeart/2005/8/layout/venn1" loCatId="relationship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de-DE"/>
        </a:p>
      </dgm:t>
    </dgm:pt>
    <dgm:pt modelId="{1AF0AF05-1102-4C13-B97B-540306C3400C}">
      <dgm:prSet/>
      <dgm:spPr/>
      <dgm:t>
        <a:bodyPr/>
        <a:lstStyle/>
        <a:p>
          <a:r>
            <a:rPr lang="de-DE"/>
            <a:t>News und Transfergerüchte aus aller Welt</a:t>
          </a:r>
        </a:p>
      </dgm:t>
    </dgm:pt>
    <dgm:pt modelId="{CCC71DBA-A0A0-4D57-9038-192D2550336D}" type="parTrans" cxnId="{93B02625-929C-4FFE-8CC9-2C1127B8D89C}">
      <dgm:prSet/>
      <dgm:spPr/>
      <dgm:t>
        <a:bodyPr/>
        <a:lstStyle/>
        <a:p>
          <a:endParaRPr lang="de-DE"/>
        </a:p>
      </dgm:t>
    </dgm:pt>
    <dgm:pt modelId="{595BD6CA-2396-4015-80C5-F48B718E3726}" type="sibTrans" cxnId="{93B02625-929C-4FFE-8CC9-2C1127B8D89C}">
      <dgm:prSet/>
      <dgm:spPr/>
      <dgm:t>
        <a:bodyPr/>
        <a:lstStyle/>
        <a:p>
          <a:endParaRPr lang="de-DE"/>
        </a:p>
      </dgm:t>
    </dgm:pt>
    <dgm:pt modelId="{544C27C2-1223-42BB-A645-2EAD98B9FAD3}">
      <dgm:prSet/>
      <dgm:spPr/>
      <dgm:t>
        <a:bodyPr/>
        <a:lstStyle/>
        <a:p>
          <a:r>
            <a:rPr lang="de-DE"/>
            <a:t>Statistiken zu Spielern, Mannschaften und Ligen</a:t>
          </a:r>
        </a:p>
      </dgm:t>
    </dgm:pt>
    <dgm:pt modelId="{3E9B50B5-8F81-474C-8BE5-E014578E67FA}" type="parTrans" cxnId="{EDC18CB8-252E-4225-BE4F-1CB6814C03E2}">
      <dgm:prSet/>
      <dgm:spPr/>
      <dgm:t>
        <a:bodyPr/>
        <a:lstStyle/>
        <a:p>
          <a:endParaRPr lang="de-DE"/>
        </a:p>
      </dgm:t>
    </dgm:pt>
    <dgm:pt modelId="{A8E3B217-36D5-4A01-80CA-F4F41DEC0F1A}" type="sibTrans" cxnId="{EDC18CB8-252E-4225-BE4F-1CB6814C03E2}">
      <dgm:prSet/>
      <dgm:spPr/>
      <dgm:t>
        <a:bodyPr/>
        <a:lstStyle/>
        <a:p>
          <a:endParaRPr lang="de-DE"/>
        </a:p>
      </dgm:t>
    </dgm:pt>
    <dgm:pt modelId="{79D91F3A-AB0E-47C9-B394-ECDE90C81465}">
      <dgm:prSet/>
      <dgm:spPr/>
      <dgm:t>
        <a:bodyPr/>
        <a:lstStyle/>
        <a:p>
          <a:r>
            <a:rPr lang="de-DE"/>
            <a:t>Spieler- und Mannschaftsprofile</a:t>
          </a:r>
        </a:p>
      </dgm:t>
    </dgm:pt>
    <dgm:pt modelId="{150749D4-C21E-4379-BCC3-53D658C9463C}" type="parTrans" cxnId="{1977814F-85C1-4A1F-A9D6-F24CB299265C}">
      <dgm:prSet/>
      <dgm:spPr/>
      <dgm:t>
        <a:bodyPr/>
        <a:lstStyle/>
        <a:p>
          <a:endParaRPr lang="de-DE"/>
        </a:p>
      </dgm:t>
    </dgm:pt>
    <dgm:pt modelId="{F6981BAB-4CC9-4431-A178-1F2910B9946C}" type="sibTrans" cxnId="{1977814F-85C1-4A1F-A9D6-F24CB299265C}">
      <dgm:prSet/>
      <dgm:spPr/>
      <dgm:t>
        <a:bodyPr/>
        <a:lstStyle/>
        <a:p>
          <a:endParaRPr lang="de-DE"/>
        </a:p>
      </dgm:t>
    </dgm:pt>
    <dgm:pt modelId="{06FE15D3-B23F-4765-8929-3AE868F80EB6}">
      <dgm:prSet/>
      <dgm:spPr/>
      <dgm:t>
        <a:bodyPr/>
        <a:lstStyle/>
        <a:p>
          <a:r>
            <a:rPr lang="de-DE"/>
            <a:t>Transfermarkt-Werte für Spieler und Mannschaften</a:t>
          </a:r>
        </a:p>
      </dgm:t>
    </dgm:pt>
    <dgm:pt modelId="{451B9714-4C81-4620-80B9-124656082E5D}" type="parTrans" cxnId="{662FD79A-E02D-49D4-9EBA-DC0A347EDB16}">
      <dgm:prSet/>
      <dgm:spPr/>
      <dgm:t>
        <a:bodyPr/>
        <a:lstStyle/>
        <a:p>
          <a:endParaRPr lang="de-DE"/>
        </a:p>
      </dgm:t>
    </dgm:pt>
    <dgm:pt modelId="{60251770-92B4-41D4-814D-0F2C46E2C023}" type="sibTrans" cxnId="{662FD79A-E02D-49D4-9EBA-DC0A347EDB16}">
      <dgm:prSet/>
      <dgm:spPr/>
      <dgm:t>
        <a:bodyPr/>
        <a:lstStyle/>
        <a:p>
          <a:endParaRPr lang="de-DE"/>
        </a:p>
      </dgm:t>
    </dgm:pt>
    <dgm:pt modelId="{891AFDF7-45E6-40C5-B687-87CA9DF124B2}">
      <dgm:prSet/>
      <dgm:spPr/>
      <dgm:t>
        <a:bodyPr/>
        <a:lstStyle/>
        <a:p>
          <a:r>
            <a:rPr lang="de-DE" dirty="0"/>
            <a:t>Community von Fußballfans, die sich über Transfers, Statistiken und andere Themen austauschen können</a:t>
          </a:r>
        </a:p>
      </dgm:t>
    </dgm:pt>
    <dgm:pt modelId="{B67AFAA1-3D0E-4A84-9013-55AD5B437262}" type="parTrans" cxnId="{C1D6370E-DEBA-45E3-942E-46F4024CB93B}">
      <dgm:prSet/>
      <dgm:spPr/>
      <dgm:t>
        <a:bodyPr/>
        <a:lstStyle/>
        <a:p>
          <a:endParaRPr lang="de-DE"/>
        </a:p>
      </dgm:t>
    </dgm:pt>
    <dgm:pt modelId="{025A0AB9-AD79-4251-AAD4-7EBB3063D6A3}" type="sibTrans" cxnId="{C1D6370E-DEBA-45E3-942E-46F4024CB93B}">
      <dgm:prSet/>
      <dgm:spPr/>
      <dgm:t>
        <a:bodyPr/>
        <a:lstStyle/>
        <a:p>
          <a:endParaRPr lang="de-DE"/>
        </a:p>
      </dgm:t>
    </dgm:pt>
    <dgm:pt modelId="{D4967B78-F62A-4461-89CA-1CE92A5F7DFD}" type="pres">
      <dgm:prSet presAssocID="{DE629B0C-2751-4D99-9525-1D5326645973}" presName="compositeShape" presStyleCnt="0">
        <dgm:presLayoutVars>
          <dgm:chMax val="7"/>
          <dgm:dir/>
          <dgm:resizeHandles val="exact"/>
        </dgm:presLayoutVars>
      </dgm:prSet>
      <dgm:spPr/>
    </dgm:pt>
    <dgm:pt modelId="{63D53A3B-4D5B-47BB-B8E8-5B53B272AFD5}" type="pres">
      <dgm:prSet presAssocID="{1AF0AF05-1102-4C13-B97B-540306C3400C}" presName="circ1" presStyleLbl="vennNode1" presStyleIdx="0" presStyleCnt="5"/>
      <dgm:spPr/>
    </dgm:pt>
    <dgm:pt modelId="{4721F6CC-2D4D-4521-84B5-C4C8FA293CEB}" type="pres">
      <dgm:prSet presAssocID="{1AF0AF05-1102-4C13-B97B-540306C3400C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A8C09EF0-172F-42CF-A6C9-C0FFCC582545}" type="pres">
      <dgm:prSet presAssocID="{544C27C2-1223-42BB-A645-2EAD98B9FAD3}" presName="circ2" presStyleLbl="vennNode1" presStyleIdx="1" presStyleCnt="5"/>
      <dgm:spPr/>
    </dgm:pt>
    <dgm:pt modelId="{497D19D9-E8BE-46A0-8F84-808AF46585ED}" type="pres">
      <dgm:prSet presAssocID="{544C27C2-1223-42BB-A645-2EAD98B9FAD3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EF17E774-C656-4AC4-A38F-62D88E02B32D}" type="pres">
      <dgm:prSet presAssocID="{79D91F3A-AB0E-47C9-B394-ECDE90C81465}" presName="circ3" presStyleLbl="vennNode1" presStyleIdx="2" presStyleCnt="5"/>
      <dgm:spPr/>
    </dgm:pt>
    <dgm:pt modelId="{B3814468-3C2D-418C-9180-F3424EBA280F}" type="pres">
      <dgm:prSet presAssocID="{79D91F3A-AB0E-47C9-B394-ECDE90C81465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18D027AC-83EC-4A74-84C6-62DF738F1D44}" type="pres">
      <dgm:prSet presAssocID="{06FE15D3-B23F-4765-8929-3AE868F80EB6}" presName="circ4" presStyleLbl="vennNode1" presStyleIdx="3" presStyleCnt="5"/>
      <dgm:spPr/>
    </dgm:pt>
    <dgm:pt modelId="{EF770828-0B3A-4F54-8CAC-F67E8B9F2DF9}" type="pres">
      <dgm:prSet presAssocID="{06FE15D3-B23F-4765-8929-3AE868F80EB6}" presName="circ4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13E045FB-34D1-410B-B223-B8C458FCC7CA}" type="pres">
      <dgm:prSet presAssocID="{891AFDF7-45E6-40C5-B687-87CA9DF124B2}" presName="circ5" presStyleLbl="vennNode1" presStyleIdx="4" presStyleCnt="5"/>
      <dgm:spPr/>
    </dgm:pt>
    <dgm:pt modelId="{5E0845A9-FCF2-47B3-8B0C-C226CD5FB40B}" type="pres">
      <dgm:prSet presAssocID="{891AFDF7-45E6-40C5-B687-87CA9DF124B2}" presName="circ5Tx" presStyleLbl="revTx" presStyleIdx="0" presStyleCnt="0">
        <dgm:presLayoutVars>
          <dgm:chMax val="0"/>
          <dgm:chPref val="0"/>
          <dgm:bulletEnabled val="1"/>
        </dgm:presLayoutVars>
      </dgm:prSet>
      <dgm:spPr/>
    </dgm:pt>
  </dgm:ptLst>
  <dgm:cxnLst>
    <dgm:cxn modelId="{C1D6370E-DEBA-45E3-942E-46F4024CB93B}" srcId="{DE629B0C-2751-4D99-9525-1D5326645973}" destId="{891AFDF7-45E6-40C5-B687-87CA9DF124B2}" srcOrd="4" destOrd="0" parTransId="{B67AFAA1-3D0E-4A84-9013-55AD5B437262}" sibTransId="{025A0AB9-AD79-4251-AAD4-7EBB3063D6A3}"/>
    <dgm:cxn modelId="{9A969F1F-A55D-4A27-8ED2-9CE73F15C98B}" type="presOf" srcId="{1AF0AF05-1102-4C13-B97B-540306C3400C}" destId="{4721F6CC-2D4D-4521-84B5-C4C8FA293CEB}" srcOrd="0" destOrd="0" presId="urn:microsoft.com/office/officeart/2005/8/layout/venn1"/>
    <dgm:cxn modelId="{93B02625-929C-4FFE-8CC9-2C1127B8D89C}" srcId="{DE629B0C-2751-4D99-9525-1D5326645973}" destId="{1AF0AF05-1102-4C13-B97B-540306C3400C}" srcOrd="0" destOrd="0" parTransId="{CCC71DBA-A0A0-4D57-9038-192D2550336D}" sibTransId="{595BD6CA-2396-4015-80C5-F48B718E3726}"/>
    <dgm:cxn modelId="{E8D50A46-29E5-4A11-B497-9B07788F3FAC}" type="presOf" srcId="{79D91F3A-AB0E-47C9-B394-ECDE90C81465}" destId="{B3814468-3C2D-418C-9180-F3424EBA280F}" srcOrd="0" destOrd="0" presId="urn:microsoft.com/office/officeart/2005/8/layout/venn1"/>
    <dgm:cxn modelId="{1977814F-85C1-4A1F-A9D6-F24CB299265C}" srcId="{DE629B0C-2751-4D99-9525-1D5326645973}" destId="{79D91F3A-AB0E-47C9-B394-ECDE90C81465}" srcOrd="2" destOrd="0" parTransId="{150749D4-C21E-4379-BCC3-53D658C9463C}" sibTransId="{F6981BAB-4CC9-4431-A178-1F2910B9946C}"/>
    <dgm:cxn modelId="{662FD79A-E02D-49D4-9EBA-DC0A347EDB16}" srcId="{DE629B0C-2751-4D99-9525-1D5326645973}" destId="{06FE15D3-B23F-4765-8929-3AE868F80EB6}" srcOrd="3" destOrd="0" parTransId="{451B9714-4C81-4620-80B9-124656082E5D}" sibTransId="{60251770-92B4-41D4-814D-0F2C46E2C023}"/>
    <dgm:cxn modelId="{EDC18CB8-252E-4225-BE4F-1CB6814C03E2}" srcId="{DE629B0C-2751-4D99-9525-1D5326645973}" destId="{544C27C2-1223-42BB-A645-2EAD98B9FAD3}" srcOrd="1" destOrd="0" parTransId="{3E9B50B5-8F81-474C-8BE5-E014578E67FA}" sibTransId="{A8E3B217-36D5-4A01-80CA-F4F41DEC0F1A}"/>
    <dgm:cxn modelId="{128FD2D6-8973-41B0-BB17-B305FCB9D433}" type="presOf" srcId="{891AFDF7-45E6-40C5-B687-87CA9DF124B2}" destId="{5E0845A9-FCF2-47B3-8B0C-C226CD5FB40B}" srcOrd="0" destOrd="0" presId="urn:microsoft.com/office/officeart/2005/8/layout/venn1"/>
    <dgm:cxn modelId="{006797D9-D2A7-414A-8BEF-4565C65C74BD}" type="presOf" srcId="{DE629B0C-2751-4D99-9525-1D5326645973}" destId="{D4967B78-F62A-4461-89CA-1CE92A5F7DFD}" srcOrd="0" destOrd="0" presId="urn:microsoft.com/office/officeart/2005/8/layout/venn1"/>
    <dgm:cxn modelId="{BED6F8DE-6933-4EFF-88AE-D590A29EF55F}" type="presOf" srcId="{544C27C2-1223-42BB-A645-2EAD98B9FAD3}" destId="{497D19D9-E8BE-46A0-8F84-808AF46585ED}" srcOrd="0" destOrd="0" presId="urn:microsoft.com/office/officeart/2005/8/layout/venn1"/>
    <dgm:cxn modelId="{FC5BBAE9-4EFD-429F-9D9C-7F7EB7620F2F}" type="presOf" srcId="{06FE15D3-B23F-4765-8929-3AE868F80EB6}" destId="{EF770828-0B3A-4F54-8CAC-F67E8B9F2DF9}" srcOrd="0" destOrd="0" presId="urn:microsoft.com/office/officeart/2005/8/layout/venn1"/>
    <dgm:cxn modelId="{B2016573-8827-490F-A8E8-2B7F49DE91EF}" type="presParOf" srcId="{D4967B78-F62A-4461-89CA-1CE92A5F7DFD}" destId="{63D53A3B-4D5B-47BB-B8E8-5B53B272AFD5}" srcOrd="0" destOrd="0" presId="urn:microsoft.com/office/officeart/2005/8/layout/venn1"/>
    <dgm:cxn modelId="{A718D4D3-CC63-49A4-BAF7-8CE3132232E4}" type="presParOf" srcId="{D4967B78-F62A-4461-89CA-1CE92A5F7DFD}" destId="{4721F6CC-2D4D-4521-84B5-C4C8FA293CEB}" srcOrd="1" destOrd="0" presId="urn:microsoft.com/office/officeart/2005/8/layout/venn1"/>
    <dgm:cxn modelId="{553ABE8F-70A1-41CD-BA5F-1A5129935466}" type="presParOf" srcId="{D4967B78-F62A-4461-89CA-1CE92A5F7DFD}" destId="{A8C09EF0-172F-42CF-A6C9-C0FFCC582545}" srcOrd="2" destOrd="0" presId="urn:microsoft.com/office/officeart/2005/8/layout/venn1"/>
    <dgm:cxn modelId="{4C275CB4-D0A8-4868-9A0E-E83042EB78D9}" type="presParOf" srcId="{D4967B78-F62A-4461-89CA-1CE92A5F7DFD}" destId="{497D19D9-E8BE-46A0-8F84-808AF46585ED}" srcOrd="3" destOrd="0" presId="urn:microsoft.com/office/officeart/2005/8/layout/venn1"/>
    <dgm:cxn modelId="{58B7A516-C7F1-46C9-B10D-373B9AD58355}" type="presParOf" srcId="{D4967B78-F62A-4461-89CA-1CE92A5F7DFD}" destId="{EF17E774-C656-4AC4-A38F-62D88E02B32D}" srcOrd="4" destOrd="0" presId="urn:microsoft.com/office/officeart/2005/8/layout/venn1"/>
    <dgm:cxn modelId="{FF2521F8-ADD6-408E-AD33-49D18F7E71F9}" type="presParOf" srcId="{D4967B78-F62A-4461-89CA-1CE92A5F7DFD}" destId="{B3814468-3C2D-418C-9180-F3424EBA280F}" srcOrd="5" destOrd="0" presId="urn:microsoft.com/office/officeart/2005/8/layout/venn1"/>
    <dgm:cxn modelId="{7F5227C1-D1E6-4F1E-9321-F2B68AA46063}" type="presParOf" srcId="{D4967B78-F62A-4461-89CA-1CE92A5F7DFD}" destId="{18D027AC-83EC-4A74-84C6-62DF738F1D44}" srcOrd="6" destOrd="0" presId="urn:microsoft.com/office/officeart/2005/8/layout/venn1"/>
    <dgm:cxn modelId="{96DC3154-806A-49CD-AA07-CF3068B21E91}" type="presParOf" srcId="{D4967B78-F62A-4461-89CA-1CE92A5F7DFD}" destId="{EF770828-0B3A-4F54-8CAC-F67E8B9F2DF9}" srcOrd="7" destOrd="0" presId="urn:microsoft.com/office/officeart/2005/8/layout/venn1"/>
    <dgm:cxn modelId="{27989D7F-2AF8-40C8-A23E-2E0015A6B921}" type="presParOf" srcId="{D4967B78-F62A-4461-89CA-1CE92A5F7DFD}" destId="{13E045FB-34D1-410B-B223-B8C458FCC7CA}" srcOrd="8" destOrd="0" presId="urn:microsoft.com/office/officeart/2005/8/layout/venn1"/>
    <dgm:cxn modelId="{CA430333-FB28-468A-90A3-C5D8955C1D71}" type="presParOf" srcId="{D4967B78-F62A-4461-89CA-1CE92A5F7DFD}" destId="{5E0845A9-FCF2-47B3-8B0C-C226CD5FB40B}" srcOrd="9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0A0F61B-4303-4677-84F2-61B7E1A91C18}" type="doc">
      <dgm:prSet loTypeId="urn:microsoft.com/office/officeart/2005/8/layout/orgChart1" loCatId="hierarchy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3A6AA12D-C2E9-4BD8-BD2C-3FE7294AFEB9}">
      <dgm:prSet custT="1"/>
      <dgm:spPr/>
      <dgm:t>
        <a:bodyPr/>
        <a:lstStyle/>
        <a:p>
          <a:r>
            <a:rPr lang="de-DE" sz="1000" dirty="0"/>
            <a:t>Attribute</a:t>
          </a:r>
        </a:p>
      </dgm:t>
    </dgm:pt>
    <dgm:pt modelId="{CB68BD35-2E0D-48E5-8A70-3DF166BD3AE0}" type="parTrans" cxnId="{64AF36A2-FAAE-4A6F-8408-0DAA70EF67D3}">
      <dgm:prSet/>
      <dgm:spPr/>
      <dgm:t>
        <a:bodyPr/>
        <a:lstStyle/>
        <a:p>
          <a:endParaRPr lang="de-DE"/>
        </a:p>
      </dgm:t>
    </dgm:pt>
    <dgm:pt modelId="{279954E4-66B2-4DF1-BBD5-CB4E7B281C1D}" type="sibTrans" cxnId="{64AF36A2-FAAE-4A6F-8408-0DAA70EF67D3}">
      <dgm:prSet/>
      <dgm:spPr/>
      <dgm:t>
        <a:bodyPr/>
        <a:lstStyle/>
        <a:p>
          <a:endParaRPr lang="de-DE"/>
        </a:p>
      </dgm:t>
    </dgm:pt>
    <dgm:pt modelId="{9FB97EE0-DCD5-4156-8D38-FCFF580D44FD}">
      <dgm:prSet custT="1"/>
      <dgm:spPr/>
      <dgm:t>
        <a:bodyPr/>
        <a:lstStyle/>
        <a:p>
          <a:r>
            <a:rPr lang="de-DE" sz="1000" dirty="0"/>
            <a:t>Spieldatum</a:t>
          </a:r>
        </a:p>
      </dgm:t>
    </dgm:pt>
    <dgm:pt modelId="{FF1888FE-33B9-4643-AE7A-09A40E256103}" type="parTrans" cxnId="{DF6C7C4B-810F-4B4F-8577-277D98D6FA11}">
      <dgm:prSet/>
      <dgm:spPr/>
      <dgm:t>
        <a:bodyPr/>
        <a:lstStyle/>
        <a:p>
          <a:endParaRPr lang="de-DE" sz="1000"/>
        </a:p>
      </dgm:t>
    </dgm:pt>
    <dgm:pt modelId="{58FFF5EC-3E90-4DDD-A670-28424277750F}" type="sibTrans" cxnId="{DF6C7C4B-810F-4B4F-8577-277D98D6FA11}">
      <dgm:prSet/>
      <dgm:spPr/>
      <dgm:t>
        <a:bodyPr/>
        <a:lstStyle/>
        <a:p>
          <a:endParaRPr lang="de-DE"/>
        </a:p>
      </dgm:t>
    </dgm:pt>
    <dgm:pt modelId="{B6DB7651-7D81-4F5E-A74E-1CE9D132FFA1}">
      <dgm:prSet custT="1"/>
      <dgm:spPr/>
      <dgm:t>
        <a:bodyPr/>
        <a:lstStyle/>
        <a:p>
          <a:r>
            <a:rPr lang="de-DE" sz="1000"/>
            <a:t>Saison</a:t>
          </a:r>
        </a:p>
      </dgm:t>
    </dgm:pt>
    <dgm:pt modelId="{62C9F470-4316-48F8-8263-FB85C0AF66D0}" type="parTrans" cxnId="{41CA94F0-5A8E-4ACB-8F43-2EE3CFC41C3F}">
      <dgm:prSet/>
      <dgm:spPr/>
      <dgm:t>
        <a:bodyPr/>
        <a:lstStyle/>
        <a:p>
          <a:endParaRPr lang="de-DE" sz="1000"/>
        </a:p>
      </dgm:t>
    </dgm:pt>
    <dgm:pt modelId="{DB3F6F20-C891-487A-A115-B4C419FAC740}" type="sibTrans" cxnId="{41CA94F0-5A8E-4ACB-8F43-2EE3CFC41C3F}">
      <dgm:prSet/>
      <dgm:spPr/>
      <dgm:t>
        <a:bodyPr/>
        <a:lstStyle/>
        <a:p>
          <a:endParaRPr lang="de-DE"/>
        </a:p>
      </dgm:t>
    </dgm:pt>
    <dgm:pt modelId="{DDAD9549-51AC-4852-8D1F-7853EE254EAB}">
      <dgm:prSet custT="1"/>
      <dgm:spPr/>
      <dgm:t>
        <a:bodyPr/>
        <a:lstStyle/>
        <a:p>
          <a:r>
            <a:rPr lang="de-DE" sz="1000"/>
            <a:t>Spieltag</a:t>
          </a:r>
        </a:p>
      </dgm:t>
    </dgm:pt>
    <dgm:pt modelId="{D3D0C99A-1A2F-48B9-92A7-B5D699B81BB4}" type="parTrans" cxnId="{66931EAC-E36B-4C7E-B667-75F915330C0D}">
      <dgm:prSet/>
      <dgm:spPr/>
      <dgm:t>
        <a:bodyPr/>
        <a:lstStyle/>
        <a:p>
          <a:endParaRPr lang="de-DE" sz="1000"/>
        </a:p>
      </dgm:t>
    </dgm:pt>
    <dgm:pt modelId="{4D69A56D-7A7B-4814-81BC-D8408374810F}" type="sibTrans" cxnId="{66931EAC-E36B-4C7E-B667-75F915330C0D}">
      <dgm:prSet/>
      <dgm:spPr/>
      <dgm:t>
        <a:bodyPr/>
        <a:lstStyle/>
        <a:p>
          <a:endParaRPr lang="de-DE"/>
        </a:p>
      </dgm:t>
    </dgm:pt>
    <dgm:pt modelId="{3BD6BDA0-26C3-403D-88CB-AA822E74B732}">
      <dgm:prSet custT="1"/>
      <dgm:spPr/>
      <dgm:t>
        <a:bodyPr/>
        <a:lstStyle/>
        <a:p>
          <a:r>
            <a:rPr lang="de-DE" sz="1000"/>
            <a:t>Heim- und Auswärtsteam</a:t>
          </a:r>
        </a:p>
      </dgm:t>
    </dgm:pt>
    <dgm:pt modelId="{65A34516-2507-40EF-8E38-D5D5269E852E}" type="parTrans" cxnId="{9FC21D5B-06BC-49E5-8C4E-F480E835FE0A}">
      <dgm:prSet/>
      <dgm:spPr/>
      <dgm:t>
        <a:bodyPr/>
        <a:lstStyle/>
        <a:p>
          <a:endParaRPr lang="de-DE" sz="1000"/>
        </a:p>
      </dgm:t>
    </dgm:pt>
    <dgm:pt modelId="{875E4EA7-E344-4050-AAC7-9D78DAA4E1B4}" type="sibTrans" cxnId="{9FC21D5B-06BC-49E5-8C4E-F480E835FE0A}">
      <dgm:prSet/>
      <dgm:spPr/>
      <dgm:t>
        <a:bodyPr/>
        <a:lstStyle/>
        <a:p>
          <a:endParaRPr lang="de-DE"/>
        </a:p>
      </dgm:t>
    </dgm:pt>
    <dgm:pt modelId="{356BB6D9-A53C-40AA-9340-A57AFC579674}">
      <dgm:prSet custT="1"/>
      <dgm:spPr/>
      <dgm:t>
        <a:bodyPr/>
        <a:lstStyle/>
        <a:p>
          <a:r>
            <a:rPr lang="de-DE" sz="1000"/>
            <a:t>Platzierungen beider Teams vor dem Spiel</a:t>
          </a:r>
        </a:p>
      </dgm:t>
    </dgm:pt>
    <dgm:pt modelId="{2C8BBE09-D937-4AF8-B69B-DA9CA12F6B02}" type="parTrans" cxnId="{11A413AD-5B67-4931-87CE-EF433FEA3739}">
      <dgm:prSet/>
      <dgm:spPr/>
      <dgm:t>
        <a:bodyPr/>
        <a:lstStyle/>
        <a:p>
          <a:endParaRPr lang="de-DE" sz="1000"/>
        </a:p>
      </dgm:t>
    </dgm:pt>
    <dgm:pt modelId="{2321DCB6-A69E-4DF4-BE16-88C5FCCE48DC}" type="sibTrans" cxnId="{11A413AD-5B67-4931-87CE-EF433FEA3739}">
      <dgm:prSet/>
      <dgm:spPr/>
      <dgm:t>
        <a:bodyPr/>
        <a:lstStyle/>
        <a:p>
          <a:endParaRPr lang="de-DE"/>
        </a:p>
      </dgm:t>
    </dgm:pt>
    <dgm:pt modelId="{4CBA4916-03C1-4A6B-AF7E-954DE1AB4700}">
      <dgm:prSet custT="1"/>
      <dgm:spPr/>
      <dgm:t>
        <a:bodyPr/>
        <a:lstStyle/>
        <a:p>
          <a:r>
            <a:rPr lang="de-DE" sz="1000" dirty="0"/>
            <a:t>Tipprundenten-</a:t>
          </a:r>
          <a:r>
            <a:rPr lang="de-DE" sz="1000" dirty="0" err="1"/>
            <a:t>denzen</a:t>
          </a:r>
          <a:endParaRPr lang="de-DE" sz="1000" dirty="0"/>
        </a:p>
      </dgm:t>
    </dgm:pt>
    <dgm:pt modelId="{78879A09-8796-42CA-8554-7D4602B98BE0}" type="parTrans" cxnId="{E5C03097-8C23-405D-8CB3-ED598E296DC3}">
      <dgm:prSet/>
      <dgm:spPr/>
      <dgm:t>
        <a:bodyPr/>
        <a:lstStyle/>
        <a:p>
          <a:endParaRPr lang="de-DE" sz="1000"/>
        </a:p>
      </dgm:t>
    </dgm:pt>
    <dgm:pt modelId="{D1522DCD-FAB1-4478-862F-3D1E39FDE66C}" type="sibTrans" cxnId="{E5C03097-8C23-405D-8CB3-ED598E296DC3}">
      <dgm:prSet/>
      <dgm:spPr/>
      <dgm:t>
        <a:bodyPr/>
        <a:lstStyle/>
        <a:p>
          <a:endParaRPr lang="de-DE"/>
        </a:p>
      </dgm:t>
    </dgm:pt>
    <dgm:pt modelId="{C57AEB62-8521-4B3A-8958-87E1270B529D}">
      <dgm:prSet custT="1"/>
      <dgm:spPr/>
      <dgm:t>
        <a:bodyPr/>
        <a:lstStyle/>
        <a:p>
          <a:r>
            <a:rPr lang="de-DE" sz="1000"/>
            <a:t>Geschossene Tore beider Teams</a:t>
          </a:r>
        </a:p>
      </dgm:t>
    </dgm:pt>
    <dgm:pt modelId="{52018A7B-3ADD-46AE-AA01-F8F8C6C7FE96}" type="parTrans" cxnId="{1D6C916D-396B-4F46-8DBA-7510D0EB5C8F}">
      <dgm:prSet/>
      <dgm:spPr/>
      <dgm:t>
        <a:bodyPr/>
        <a:lstStyle/>
        <a:p>
          <a:endParaRPr lang="de-DE" sz="1000"/>
        </a:p>
      </dgm:t>
    </dgm:pt>
    <dgm:pt modelId="{29608A20-D110-42A1-9C64-14C0B62390F1}" type="sibTrans" cxnId="{1D6C916D-396B-4F46-8DBA-7510D0EB5C8F}">
      <dgm:prSet/>
      <dgm:spPr/>
      <dgm:t>
        <a:bodyPr/>
        <a:lstStyle/>
        <a:p>
          <a:endParaRPr lang="de-DE"/>
        </a:p>
      </dgm:t>
    </dgm:pt>
    <dgm:pt modelId="{26018C0D-57D8-4ED6-A88E-C484A4AE7FDB}">
      <dgm:prSet custT="1"/>
      <dgm:spPr/>
      <dgm:t>
        <a:bodyPr/>
        <a:lstStyle/>
        <a:p>
          <a:r>
            <a:rPr lang="de-DE" sz="1000" dirty="0"/>
            <a:t>Schiedsrichter</a:t>
          </a:r>
        </a:p>
      </dgm:t>
    </dgm:pt>
    <dgm:pt modelId="{FEF15825-2017-48CE-B3E0-6646B9E3F8E6}" type="parTrans" cxnId="{61711B1B-9C74-4FFC-8EC2-E4E4CD1412EF}">
      <dgm:prSet/>
      <dgm:spPr/>
      <dgm:t>
        <a:bodyPr/>
        <a:lstStyle/>
        <a:p>
          <a:endParaRPr lang="de-DE" sz="1000"/>
        </a:p>
      </dgm:t>
    </dgm:pt>
    <dgm:pt modelId="{FFB39916-0886-468D-ACCE-099D53516939}" type="sibTrans" cxnId="{61711B1B-9C74-4FFC-8EC2-E4E4CD1412EF}">
      <dgm:prSet/>
      <dgm:spPr/>
      <dgm:t>
        <a:bodyPr/>
        <a:lstStyle/>
        <a:p>
          <a:endParaRPr lang="de-DE"/>
        </a:p>
      </dgm:t>
    </dgm:pt>
    <dgm:pt modelId="{CB5D569C-B44B-4308-B27F-633455E5871F}" type="pres">
      <dgm:prSet presAssocID="{D0A0F61B-4303-4677-84F2-61B7E1A91C18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AB795A0E-3C7B-47E3-BC47-3534A54F9190}" type="pres">
      <dgm:prSet presAssocID="{3A6AA12D-C2E9-4BD8-BD2C-3FE7294AFEB9}" presName="hierRoot1" presStyleCnt="0">
        <dgm:presLayoutVars>
          <dgm:hierBranch val="init"/>
        </dgm:presLayoutVars>
      </dgm:prSet>
      <dgm:spPr/>
    </dgm:pt>
    <dgm:pt modelId="{6AEEC0CB-D732-40ED-98C7-E88C954633C1}" type="pres">
      <dgm:prSet presAssocID="{3A6AA12D-C2E9-4BD8-BD2C-3FE7294AFEB9}" presName="rootComposite1" presStyleCnt="0"/>
      <dgm:spPr/>
    </dgm:pt>
    <dgm:pt modelId="{3DD70376-3E3F-43E1-B2C6-956970C172ED}" type="pres">
      <dgm:prSet presAssocID="{3A6AA12D-C2E9-4BD8-BD2C-3FE7294AFEB9}" presName="rootText1" presStyleLbl="node0" presStyleIdx="0" presStyleCnt="1" custScaleX="224472" custScaleY="263868">
        <dgm:presLayoutVars>
          <dgm:chPref val="3"/>
        </dgm:presLayoutVars>
      </dgm:prSet>
      <dgm:spPr/>
    </dgm:pt>
    <dgm:pt modelId="{9AB5A911-E489-48AE-B687-7440697238B3}" type="pres">
      <dgm:prSet presAssocID="{3A6AA12D-C2E9-4BD8-BD2C-3FE7294AFEB9}" presName="rootConnector1" presStyleLbl="node1" presStyleIdx="0" presStyleCnt="0"/>
      <dgm:spPr/>
    </dgm:pt>
    <dgm:pt modelId="{E404BA80-6E0F-4C3E-BC06-4E7117DCF3CE}" type="pres">
      <dgm:prSet presAssocID="{3A6AA12D-C2E9-4BD8-BD2C-3FE7294AFEB9}" presName="hierChild2" presStyleCnt="0"/>
      <dgm:spPr/>
    </dgm:pt>
    <dgm:pt modelId="{1F1BF832-7D6F-4314-8A20-B77ADD6E09FD}" type="pres">
      <dgm:prSet presAssocID="{FF1888FE-33B9-4643-AE7A-09A40E256103}" presName="Name37" presStyleLbl="parChTrans1D2" presStyleIdx="0" presStyleCnt="8" custSzX="6005334" custSzY="306613"/>
      <dgm:spPr/>
    </dgm:pt>
    <dgm:pt modelId="{338F5E53-0455-48EE-ABDF-BFB85DD1E3B8}" type="pres">
      <dgm:prSet presAssocID="{9FB97EE0-DCD5-4156-8D38-FCFF580D44FD}" presName="hierRoot2" presStyleCnt="0">
        <dgm:presLayoutVars>
          <dgm:hierBranch val="init"/>
        </dgm:presLayoutVars>
      </dgm:prSet>
      <dgm:spPr/>
    </dgm:pt>
    <dgm:pt modelId="{3AFE5463-745F-4692-AF4E-CB50EC31BE95}" type="pres">
      <dgm:prSet presAssocID="{9FB97EE0-DCD5-4156-8D38-FCFF580D44FD}" presName="rootComposite" presStyleCnt="0"/>
      <dgm:spPr/>
    </dgm:pt>
    <dgm:pt modelId="{BCA0F817-645B-4DF6-B98A-68FC4A66FB72}" type="pres">
      <dgm:prSet presAssocID="{9FB97EE0-DCD5-4156-8D38-FCFF580D44FD}" presName="rootText" presStyleLbl="node2" presStyleIdx="0" presStyleCnt="8" custScaleX="224472" custScaleY="263868">
        <dgm:presLayoutVars>
          <dgm:chPref val="3"/>
        </dgm:presLayoutVars>
      </dgm:prSet>
      <dgm:spPr/>
    </dgm:pt>
    <dgm:pt modelId="{2D7AE81F-8C7C-4CA7-9284-3B78B04D4886}" type="pres">
      <dgm:prSet presAssocID="{9FB97EE0-DCD5-4156-8D38-FCFF580D44FD}" presName="rootConnector" presStyleLbl="node2" presStyleIdx="0" presStyleCnt="8"/>
      <dgm:spPr/>
    </dgm:pt>
    <dgm:pt modelId="{57B634ED-9877-4988-A910-1E72805200C1}" type="pres">
      <dgm:prSet presAssocID="{9FB97EE0-DCD5-4156-8D38-FCFF580D44FD}" presName="hierChild4" presStyleCnt="0"/>
      <dgm:spPr/>
    </dgm:pt>
    <dgm:pt modelId="{33976D44-C62D-46BD-99B9-28ACEAC7D476}" type="pres">
      <dgm:prSet presAssocID="{9FB97EE0-DCD5-4156-8D38-FCFF580D44FD}" presName="hierChild5" presStyleCnt="0"/>
      <dgm:spPr/>
    </dgm:pt>
    <dgm:pt modelId="{C18E588E-D810-43F6-B8D0-371D7DDA551F}" type="pres">
      <dgm:prSet presAssocID="{62C9F470-4316-48F8-8263-FB85C0AF66D0}" presName="Name37" presStyleLbl="parChTrans1D2" presStyleIdx="1" presStyleCnt="8" custSzX="4289524" custSzY="306613"/>
      <dgm:spPr/>
    </dgm:pt>
    <dgm:pt modelId="{84EB36B9-62D1-4B5C-A597-7F19B7690CBB}" type="pres">
      <dgm:prSet presAssocID="{B6DB7651-7D81-4F5E-A74E-1CE9D132FFA1}" presName="hierRoot2" presStyleCnt="0">
        <dgm:presLayoutVars>
          <dgm:hierBranch val="init"/>
        </dgm:presLayoutVars>
      </dgm:prSet>
      <dgm:spPr/>
    </dgm:pt>
    <dgm:pt modelId="{FF286CB8-4EF0-4920-A52C-FE142401368E}" type="pres">
      <dgm:prSet presAssocID="{B6DB7651-7D81-4F5E-A74E-1CE9D132FFA1}" presName="rootComposite" presStyleCnt="0"/>
      <dgm:spPr/>
    </dgm:pt>
    <dgm:pt modelId="{919252C1-5E8F-4C1E-8B07-9019D6B598DF}" type="pres">
      <dgm:prSet presAssocID="{B6DB7651-7D81-4F5E-A74E-1CE9D132FFA1}" presName="rootText" presStyleLbl="node2" presStyleIdx="1" presStyleCnt="8" custScaleX="224472" custScaleY="263868">
        <dgm:presLayoutVars>
          <dgm:chPref val="3"/>
        </dgm:presLayoutVars>
      </dgm:prSet>
      <dgm:spPr/>
    </dgm:pt>
    <dgm:pt modelId="{B05F8344-AFEA-433E-AB6E-DA6446A9FBE1}" type="pres">
      <dgm:prSet presAssocID="{B6DB7651-7D81-4F5E-A74E-1CE9D132FFA1}" presName="rootConnector" presStyleLbl="node2" presStyleIdx="1" presStyleCnt="8"/>
      <dgm:spPr/>
    </dgm:pt>
    <dgm:pt modelId="{D6EB8568-0C1F-45AB-B966-8E98CC819E16}" type="pres">
      <dgm:prSet presAssocID="{B6DB7651-7D81-4F5E-A74E-1CE9D132FFA1}" presName="hierChild4" presStyleCnt="0"/>
      <dgm:spPr/>
    </dgm:pt>
    <dgm:pt modelId="{B7191E19-DD2A-4BAB-A4A6-36528F9B308C}" type="pres">
      <dgm:prSet presAssocID="{B6DB7651-7D81-4F5E-A74E-1CE9D132FFA1}" presName="hierChild5" presStyleCnt="0"/>
      <dgm:spPr/>
    </dgm:pt>
    <dgm:pt modelId="{766BDE4F-B05F-4DE9-9297-2C646DE2E6AF}" type="pres">
      <dgm:prSet presAssocID="{D3D0C99A-1A2F-48B9-92A7-B5D699B81BB4}" presName="Name37" presStyleLbl="parChTrans1D2" presStyleIdx="2" presStyleCnt="8" custSzX="2573714" custSzY="306613"/>
      <dgm:spPr/>
    </dgm:pt>
    <dgm:pt modelId="{1CBB0A5B-52FA-4FDC-A7F6-04043CF6D315}" type="pres">
      <dgm:prSet presAssocID="{DDAD9549-51AC-4852-8D1F-7853EE254EAB}" presName="hierRoot2" presStyleCnt="0">
        <dgm:presLayoutVars>
          <dgm:hierBranch val="init"/>
        </dgm:presLayoutVars>
      </dgm:prSet>
      <dgm:spPr/>
    </dgm:pt>
    <dgm:pt modelId="{59E27656-95E6-4F48-866C-8989D63D5D9B}" type="pres">
      <dgm:prSet presAssocID="{DDAD9549-51AC-4852-8D1F-7853EE254EAB}" presName="rootComposite" presStyleCnt="0"/>
      <dgm:spPr/>
    </dgm:pt>
    <dgm:pt modelId="{CB31C50E-0282-4D4F-B0CC-4E9722E2149F}" type="pres">
      <dgm:prSet presAssocID="{DDAD9549-51AC-4852-8D1F-7853EE254EAB}" presName="rootText" presStyleLbl="node2" presStyleIdx="2" presStyleCnt="8" custScaleX="224472" custScaleY="263868">
        <dgm:presLayoutVars>
          <dgm:chPref val="3"/>
        </dgm:presLayoutVars>
      </dgm:prSet>
      <dgm:spPr/>
    </dgm:pt>
    <dgm:pt modelId="{5BE1293F-E52E-4364-815E-BA964B2E313E}" type="pres">
      <dgm:prSet presAssocID="{DDAD9549-51AC-4852-8D1F-7853EE254EAB}" presName="rootConnector" presStyleLbl="node2" presStyleIdx="2" presStyleCnt="8"/>
      <dgm:spPr/>
    </dgm:pt>
    <dgm:pt modelId="{4DF886EB-5C4D-4256-BFCD-293C86C11368}" type="pres">
      <dgm:prSet presAssocID="{DDAD9549-51AC-4852-8D1F-7853EE254EAB}" presName="hierChild4" presStyleCnt="0"/>
      <dgm:spPr/>
    </dgm:pt>
    <dgm:pt modelId="{7322A613-0704-460A-A42A-D682B2D8407D}" type="pres">
      <dgm:prSet presAssocID="{DDAD9549-51AC-4852-8D1F-7853EE254EAB}" presName="hierChild5" presStyleCnt="0"/>
      <dgm:spPr/>
    </dgm:pt>
    <dgm:pt modelId="{EBDEDD73-1A0D-448D-87EC-AF798632099F}" type="pres">
      <dgm:prSet presAssocID="{65A34516-2507-40EF-8E38-D5D5269E852E}" presName="Name37" presStyleLbl="parChTrans1D2" presStyleIdx="3" presStyleCnt="8" custSzX="857904" custSzY="306613"/>
      <dgm:spPr/>
    </dgm:pt>
    <dgm:pt modelId="{C82B6449-FC96-4809-891D-3F77115F2A6E}" type="pres">
      <dgm:prSet presAssocID="{3BD6BDA0-26C3-403D-88CB-AA822E74B732}" presName="hierRoot2" presStyleCnt="0">
        <dgm:presLayoutVars>
          <dgm:hierBranch val="init"/>
        </dgm:presLayoutVars>
      </dgm:prSet>
      <dgm:spPr/>
    </dgm:pt>
    <dgm:pt modelId="{D4CF06AD-AC28-4337-8DC4-C77F82AF429A}" type="pres">
      <dgm:prSet presAssocID="{3BD6BDA0-26C3-403D-88CB-AA822E74B732}" presName="rootComposite" presStyleCnt="0"/>
      <dgm:spPr/>
    </dgm:pt>
    <dgm:pt modelId="{609EB9A4-2680-422B-ADA3-4CA28FF595B7}" type="pres">
      <dgm:prSet presAssocID="{3BD6BDA0-26C3-403D-88CB-AA822E74B732}" presName="rootText" presStyleLbl="node2" presStyleIdx="3" presStyleCnt="8" custScaleX="224472" custScaleY="263868">
        <dgm:presLayoutVars>
          <dgm:chPref val="3"/>
        </dgm:presLayoutVars>
      </dgm:prSet>
      <dgm:spPr/>
    </dgm:pt>
    <dgm:pt modelId="{6A578C9B-36DC-47B6-B550-4B2973A0AD3E}" type="pres">
      <dgm:prSet presAssocID="{3BD6BDA0-26C3-403D-88CB-AA822E74B732}" presName="rootConnector" presStyleLbl="node2" presStyleIdx="3" presStyleCnt="8"/>
      <dgm:spPr/>
    </dgm:pt>
    <dgm:pt modelId="{AD9A910C-E527-4DA9-9196-9F0784AF9A03}" type="pres">
      <dgm:prSet presAssocID="{3BD6BDA0-26C3-403D-88CB-AA822E74B732}" presName="hierChild4" presStyleCnt="0"/>
      <dgm:spPr/>
    </dgm:pt>
    <dgm:pt modelId="{CB6FB5E4-D783-4232-B545-77163E1752CE}" type="pres">
      <dgm:prSet presAssocID="{3BD6BDA0-26C3-403D-88CB-AA822E74B732}" presName="hierChild5" presStyleCnt="0"/>
      <dgm:spPr/>
    </dgm:pt>
    <dgm:pt modelId="{E5B64A66-98C3-4BB7-B533-49BBD6320137}" type="pres">
      <dgm:prSet presAssocID="{2C8BBE09-D937-4AF8-B69B-DA9CA12F6B02}" presName="Name37" presStyleLbl="parChTrans1D2" presStyleIdx="4" presStyleCnt="8" custSzX="857904" custSzY="306613"/>
      <dgm:spPr/>
    </dgm:pt>
    <dgm:pt modelId="{C9AC80DA-5C67-471C-A517-09C56065513F}" type="pres">
      <dgm:prSet presAssocID="{356BB6D9-A53C-40AA-9340-A57AFC579674}" presName="hierRoot2" presStyleCnt="0">
        <dgm:presLayoutVars>
          <dgm:hierBranch val="init"/>
        </dgm:presLayoutVars>
      </dgm:prSet>
      <dgm:spPr/>
    </dgm:pt>
    <dgm:pt modelId="{5750CD8B-3CA9-4453-A7EE-8F1E255127A6}" type="pres">
      <dgm:prSet presAssocID="{356BB6D9-A53C-40AA-9340-A57AFC579674}" presName="rootComposite" presStyleCnt="0"/>
      <dgm:spPr/>
    </dgm:pt>
    <dgm:pt modelId="{8A836A0C-FAC7-4158-B0FF-92C12F5D70AB}" type="pres">
      <dgm:prSet presAssocID="{356BB6D9-A53C-40AA-9340-A57AFC579674}" presName="rootText" presStyleLbl="node2" presStyleIdx="4" presStyleCnt="8" custScaleX="224472" custScaleY="263868">
        <dgm:presLayoutVars>
          <dgm:chPref val="3"/>
        </dgm:presLayoutVars>
      </dgm:prSet>
      <dgm:spPr/>
    </dgm:pt>
    <dgm:pt modelId="{A746DBFA-FF7B-450A-9600-1DCEA1D74B2C}" type="pres">
      <dgm:prSet presAssocID="{356BB6D9-A53C-40AA-9340-A57AFC579674}" presName="rootConnector" presStyleLbl="node2" presStyleIdx="4" presStyleCnt="8"/>
      <dgm:spPr/>
    </dgm:pt>
    <dgm:pt modelId="{D6908B42-389D-4B5A-BA13-88E673F4D8AC}" type="pres">
      <dgm:prSet presAssocID="{356BB6D9-A53C-40AA-9340-A57AFC579674}" presName="hierChild4" presStyleCnt="0"/>
      <dgm:spPr/>
    </dgm:pt>
    <dgm:pt modelId="{6FC657D7-A26A-4CF7-8A36-60820E479DED}" type="pres">
      <dgm:prSet presAssocID="{356BB6D9-A53C-40AA-9340-A57AFC579674}" presName="hierChild5" presStyleCnt="0"/>
      <dgm:spPr/>
    </dgm:pt>
    <dgm:pt modelId="{0D5A4952-58DB-4379-A0FF-9CF9AA8B30A9}" type="pres">
      <dgm:prSet presAssocID="{78879A09-8796-42CA-8554-7D4602B98BE0}" presName="Name37" presStyleLbl="parChTrans1D2" presStyleIdx="5" presStyleCnt="8" custSzX="2573714" custSzY="306613"/>
      <dgm:spPr/>
    </dgm:pt>
    <dgm:pt modelId="{D2909641-ED8A-4F63-8E22-D0C2F560868D}" type="pres">
      <dgm:prSet presAssocID="{4CBA4916-03C1-4A6B-AF7E-954DE1AB4700}" presName="hierRoot2" presStyleCnt="0">
        <dgm:presLayoutVars>
          <dgm:hierBranch val="init"/>
        </dgm:presLayoutVars>
      </dgm:prSet>
      <dgm:spPr/>
    </dgm:pt>
    <dgm:pt modelId="{8747B277-287C-4F96-AAF1-71B5A44990BB}" type="pres">
      <dgm:prSet presAssocID="{4CBA4916-03C1-4A6B-AF7E-954DE1AB4700}" presName="rootComposite" presStyleCnt="0"/>
      <dgm:spPr/>
    </dgm:pt>
    <dgm:pt modelId="{6E21471F-70DD-425A-96EB-D138019D0017}" type="pres">
      <dgm:prSet presAssocID="{4CBA4916-03C1-4A6B-AF7E-954DE1AB4700}" presName="rootText" presStyleLbl="node2" presStyleIdx="5" presStyleCnt="8" custScaleX="224472" custScaleY="263868">
        <dgm:presLayoutVars>
          <dgm:chPref val="3"/>
        </dgm:presLayoutVars>
      </dgm:prSet>
      <dgm:spPr/>
    </dgm:pt>
    <dgm:pt modelId="{4434DAB3-9F54-4E34-870E-DE4B9CBDF485}" type="pres">
      <dgm:prSet presAssocID="{4CBA4916-03C1-4A6B-AF7E-954DE1AB4700}" presName="rootConnector" presStyleLbl="node2" presStyleIdx="5" presStyleCnt="8"/>
      <dgm:spPr/>
    </dgm:pt>
    <dgm:pt modelId="{6D49527A-6F9D-48D3-82C3-4CC6BEAC2FC9}" type="pres">
      <dgm:prSet presAssocID="{4CBA4916-03C1-4A6B-AF7E-954DE1AB4700}" presName="hierChild4" presStyleCnt="0"/>
      <dgm:spPr/>
    </dgm:pt>
    <dgm:pt modelId="{25160CDE-B463-4E43-B76B-D9F74A3CA323}" type="pres">
      <dgm:prSet presAssocID="{4CBA4916-03C1-4A6B-AF7E-954DE1AB4700}" presName="hierChild5" presStyleCnt="0"/>
      <dgm:spPr/>
    </dgm:pt>
    <dgm:pt modelId="{7C650D1E-3017-4717-95CC-BB314B759F2C}" type="pres">
      <dgm:prSet presAssocID="{52018A7B-3ADD-46AE-AA01-F8F8C6C7FE96}" presName="Name37" presStyleLbl="parChTrans1D2" presStyleIdx="6" presStyleCnt="8" custSzX="4289524" custSzY="306613"/>
      <dgm:spPr/>
    </dgm:pt>
    <dgm:pt modelId="{4C66E9E1-6C36-4396-934D-67AA4CDE3382}" type="pres">
      <dgm:prSet presAssocID="{C57AEB62-8521-4B3A-8958-87E1270B529D}" presName="hierRoot2" presStyleCnt="0">
        <dgm:presLayoutVars>
          <dgm:hierBranch val="init"/>
        </dgm:presLayoutVars>
      </dgm:prSet>
      <dgm:spPr/>
    </dgm:pt>
    <dgm:pt modelId="{D35D85B9-3FC5-4C6D-B06C-532F87EB7C78}" type="pres">
      <dgm:prSet presAssocID="{C57AEB62-8521-4B3A-8958-87E1270B529D}" presName="rootComposite" presStyleCnt="0"/>
      <dgm:spPr/>
    </dgm:pt>
    <dgm:pt modelId="{09F933FE-904C-41E0-8847-5EE14ADC5F19}" type="pres">
      <dgm:prSet presAssocID="{C57AEB62-8521-4B3A-8958-87E1270B529D}" presName="rootText" presStyleLbl="node2" presStyleIdx="6" presStyleCnt="8" custScaleX="224472" custScaleY="263868">
        <dgm:presLayoutVars>
          <dgm:chPref val="3"/>
        </dgm:presLayoutVars>
      </dgm:prSet>
      <dgm:spPr/>
    </dgm:pt>
    <dgm:pt modelId="{019907A6-8841-40DF-BD59-2AE933C6AF50}" type="pres">
      <dgm:prSet presAssocID="{C57AEB62-8521-4B3A-8958-87E1270B529D}" presName="rootConnector" presStyleLbl="node2" presStyleIdx="6" presStyleCnt="8"/>
      <dgm:spPr/>
    </dgm:pt>
    <dgm:pt modelId="{8C029093-EDCE-41EE-BBC1-026AF27C95C6}" type="pres">
      <dgm:prSet presAssocID="{C57AEB62-8521-4B3A-8958-87E1270B529D}" presName="hierChild4" presStyleCnt="0"/>
      <dgm:spPr/>
    </dgm:pt>
    <dgm:pt modelId="{E452553B-C85A-4293-B98D-38AFFA531F0C}" type="pres">
      <dgm:prSet presAssocID="{C57AEB62-8521-4B3A-8958-87E1270B529D}" presName="hierChild5" presStyleCnt="0"/>
      <dgm:spPr/>
    </dgm:pt>
    <dgm:pt modelId="{3C8AB344-DDA2-4C65-9FAE-8474291F8300}" type="pres">
      <dgm:prSet presAssocID="{FEF15825-2017-48CE-B3E0-6646B9E3F8E6}" presName="Name37" presStyleLbl="parChTrans1D2" presStyleIdx="7" presStyleCnt="8" custSzX="6005334" custSzY="306613"/>
      <dgm:spPr/>
    </dgm:pt>
    <dgm:pt modelId="{B15583D3-9B6E-4A52-8503-28A41B2EB79E}" type="pres">
      <dgm:prSet presAssocID="{26018C0D-57D8-4ED6-A88E-C484A4AE7FDB}" presName="hierRoot2" presStyleCnt="0">
        <dgm:presLayoutVars>
          <dgm:hierBranch val="init"/>
        </dgm:presLayoutVars>
      </dgm:prSet>
      <dgm:spPr/>
    </dgm:pt>
    <dgm:pt modelId="{FE601759-9972-435F-92EE-E450BF08EC6F}" type="pres">
      <dgm:prSet presAssocID="{26018C0D-57D8-4ED6-A88E-C484A4AE7FDB}" presName="rootComposite" presStyleCnt="0"/>
      <dgm:spPr/>
    </dgm:pt>
    <dgm:pt modelId="{3D4EB2F9-3B09-45FA-A6CC-B4ABB57F75C1}" type="pres">
      <dgm:prSet presAssocID="{26018C0D-57D8-4ED6-A88E-C484A4AE7FDB}" presName="rootText" presStyleLbl="node2" presStyleIdx="7" presStyleCnt="8" custScaleX="224472" custScaleY="263868">
        <dgm:presLayoutVars>
          <dgm:chPref val="3"/>
        </dgm:presLayoutVars>
      </dgm:prSet>
      <dgm:spPr/>
    </dgm:pt>
    <dgm:pt modelId="{3035AC2D-A387-4228-9E38-423DF014FF0A}" type="pres">
      <dgm:prSet presAssocID="{26018C0D-57D8-4ED6-A88E-C484A4AE7FDB}" presName="rootConnector" presStyleLbl="node2" presStyleIdx="7" presStyleCnt="8"/>
      <dgm:spPr/>
    </dgm:pt>
    <dgm:pt modelId="{E4548A40-41F8-4DC0-9F8F-122C27CA444F}" type="pres">
      <dgm:prSet presAssocID="{26018C0D-57D8-4ED6-A88E-C484A4AE7FDB}" presName="hierChild4" presStyleCnt="0"/>
      <dgm:spPr/>
    </dgm:pt>
    <dgm:pt modelId="{42CD9089-A891-4D21-96B3-C7EEB57C8CF7}" type="pres">
      <dgm:prSet presAssocID="{26018C0D-57D8-4ED6-A88E-C484A4AE7FDB}" presName="hierChild5" presStyleCnt="0"/>
      <dgm:spPr/>
    </dgm:pt>
    <dgm:pt modelId="{393210D2-D629-4CE1-A3A4-675C9384F18A}" type="pres">
      <dgm:prSet presAssocID="{3A6AA12D-C2E9-4BD8-BD2C-3FE7294AFEB9}" presName="hierChild3" presStyleCnt="0"/>
      <dgm:spPr/>
    </dgm:pt>
  </dgm:ptLst>
  <dgm:cxnLst>
    <dgm:cxn modelId="{D8BE2E0C-D298-4EE3-A65E-F5C05E27826F}" type="presOf" srcId="{26018C0D-57D8-4ED6-A88E-C484A4AE7FDB}" destId="{3035AC2D-A387-4228-9E38-423DF014FF0A}" srcOrd="1" destOrd="0" presId="urn:microsoft.com/office/officeart/2005/8/layout/orgChart1"/>
    <dgm:cxn modelId="{A3C2930D-A995-4A13-B150-06E24AD2829B}" type="presOf" srcId="{DDAD9549-51AC-4852-8D1F-7853EE254EAB}" destId="{CB31C50E-0282-4D4F-B0CC-4E9722E2149F}" srcOrd="0" destOrd="0" presId="urn:microsoft.com/office/officeart/2005/8/layout/orgChart1"/>
    <dgm:cxn modelId="{B4E7DB18-52DD-4DFE-8AFF-C229CF58B7D7}" type="presOf" srcId="{4CBA4916-03C1-4A6B-AF7E-954DE1AB4700}" destId="{4434DAB3-9F54-4E34-870E-DE4B9CBDF485}" srcOrd="1" destOrd="0" presId="urn:microsoft.com/office/officeart/2005/8/layout/orgChart1"/>
    <dgm:cxn modelId="{61711B1B-9C74-4FFC-8EC2-E4E4CD1412EF}" srcId="{3A6AA12D-C2E9-4BD8-BD2C-3FE7294AFEB9}" destId="{26018C0D-57D8-4ED6-A88E-C484A4AE7FDB}" srcOrd="7" destOrd="0" parTransId="{FEF15825-2017-48CE-B3E0-6646B9E3F8E6}" sibTransId="{FFB39916-0886-468D-ACCE-099D53516939}"/>
    <dgm:cxn modelId="{9D023827-73D4-4F3E-86D4-86A7255FA673}" type="presOf" srcId="{356BB6D9-A53C-40AA-9340-A57AFC579674}" destId="{8A836A0C-FAC7-4158-B0FF-92C12F5D70AB}" srcOrd="0" destOrd="0" presId="urn:microsoft.com/office/officeart/2005/8/layout/orgChart1"/>
    <dgm:cxn modelId="{4A065327-F67C-478E-8018-E87F817897E3}" type="presOf" srcId="{65A34516-2507-40EF-8E38-D5D5269E852E}" destId="{EBDEDD73-1A0D-448D-87EC-AF798632099F}" srcOrd="0" destOrd="0" presId="urn:microsoft.com/office/officeart/2005/8/layout/orgChart1"/>
    <dgm:cxn modelId="{D107082D-E6FB-42C2-9C79-D42AED2ACB64}" type="presOf" srcId="{52018A7B-3ADD-46AE-AA01-F8F8C6C7FE96}" destId="{7C650D1E-3017-4717-95CC-BB314B759F2C}" srcOrd="0" destOrd="0" presId="urn:microsoft.com/office/officeart/2005/8/layout/orgChart1"/>
    <dgm:cxn modelId="{E184953C-0694-4CD0-8632-E1BD3BAD7A6B}" type="presOf" srcId="{DDAD9549-51AC-4852-8D1F-7853EE254EAB}" destId="{5BE1293F-E52E-4364-815E-BA964B2E313E}" srcOrd="1" destOrd="0" presId="urn:microsoft.com/office/officeart/2005/8/layout/orgChart1"/>
    <dgm:cxn modelId="{F032C83C-2CDE-4DF1-A8DC-B85E12986189}" type="presOf" srcId="{3A6AA12D-C2E9-4BD8-BD2C-3FE7294AFEB9}" destId="{3DD70376-3E3F-43E1-B2C6-956970C172ED}" srcOrd="0" destOrd="0" presId="urn:microsoft.com/office/officeart/2005/8/layout/orgChart1"/>
    <dgm:cxn modelId="{9FC21D5B-06BC-49E5-8C4E-F480E835FE0A}" srcId="{3A6AA12D-C2E9-4BD8-BD2C-3FE7294AFEB9}" destId="{3BD6BDA0-26C3-403D-88CB-AA822E74B732}" srcOrd="3" destOrd="0" parTransId="{65A34516-2507-40EF-8E38-D5D5269E852E}" sibTransId="{875E4EA7-E344-4050-AAC7-9D78DAA4E1B4}"/>
    <dgm:cxn modelId="{19C50842-3C4E-4120-AA47-0CB579E31C4C}" type="presOf" srcId="{FEF15825-2017-48CE-B3E0-6646B9E3F8E6}" destId="{3C8AB344-DDA2-4C65-9FAE-8474291F8300}" srcOrd="0" destOrd="0" presId="urn:microsoft.com/office/officeart/2005/8/layout/orgChart1"/>
    <dgm:cxn modelId="{2A57BB48-EEA3-4D82-82C5-A5CCD73690B9}" type="presOf" srcId="{4CBA4916-03C1-4A6B-AF7E-954DE1AB4700}" destId="{6E21471F-70DD-425A-96EB-D138019D0017}" srcOrd="0" destOrd="0" presId="urn:microsoft.com/office/officeart/2005/8/layout/orgChart1"/>
    <dgm:cxn modelId="{06EAE96A-939C-4E13-8405-E08EE8AA498F}" type="presOf" srcId="{9FB97EE0-DCD5-4156-8D38-FCFF580D44FD}" destId="{2D7AE81F-8C7C-4CA7-9284-3B78B04D4886}" srcOrd="1" destOrd="0" presId="urn:microsoft.com/office/officeart/2005/8/layout/orgChart1"/>
    <dgm:cxn modelId="{DF6C7C4B-810F-4B4F-8577-277D98D6FA11}" srcId="{3A6AA12D-C2E9-4BD8-BD2C-3FE7294AFEB9}" destId="{9FB97EE0-DCD5-4156-8D38-FCFF580D44FD}" srcOrd="0" destOrd="0" parTransId="{FF1888FE-33B9-4643-AE7A-09A40E256103}" sibTransId="{58FFF5EC-3E90-4DDD-A670-28424277750F}"/>
    <dgm:cxn modelId="{D8D3036D-63BE-483E-B0AF-FD04F63D2A49}" type="presOf" srcId="{3A6AA12D-C2E9-4BD8-BD2C-3FE7294AFEB9}" destId="{9AB5A911-E489-48AE-B687-7440697238B3}" srcOrd="1" destOrd="0" presId="urn:microsoft.com/office/officeart/2005/8/layout/orgChart1"/>
    <dgm:cxn modelId="{1D6C916D-396B-4F46-8DBA-7510D0EB5C8F}" srcId="{3A6AA12D-C2E9-4BD8-BD2C-3FE7294AFEB9}" destId="{C57AEB62-8521-4B3A-8958-87E1270B529D}" srcOrd="6" destOrd="0" parTransId="{52018A7B-3ADD-46AE-AA01-F8F8C6C7FE96}" sibTransId="{29608A20-D110-42A1-9C64-14C0B62390F1}"/>
    <dgm:cxn modelId="{7D163A4F-193A-4940-A8BA-4CE1BE9E84D8}" type="presOf" srcId="{FF1888FE-33B9-4643-AE7A-09A40E256103}" destId="{1F1BF832-7D6F-4314-8A20-B77ADD6E09FD}" srcOrd="0" destOrd="0" presId="urn:microsoft.com/office/officeart/2005/8/layout/orgChart1"/>
    <dgm:cxn modelId="{35F84B56-B58F-42F6-8D42-4E794C0A3AEE}" type="presOf" srcId="{3BD6BDA0-26C3-403D-88CB-AA822E74B732}" destId="{609EB9A4-2680-422B-ADA3-4CA28FF595B7}" srcOrd="0" destOrd="0" presId="urn:microsoft.com/office/officeart/2005/8/layout/orgChart1"/>
    <dgm:cxn modelId="{E5C03097-8C23-405D-8CB3-ED598E296DC3}" srcId="{3A6AA12D-C2E9-4BD8-BD2C-3FE7294AFEB9}" destId="{4CBA4916-03C1-4A6B-AF7E-954DE1AB4700}" srcOrd="5" destOrd="0" parTransId="{78879A09-8796-42CA-8554-7D4602B98BE0}" sibTransId="{D1522DCD-FAB1-4478-862F-3D1E39FDE66C}"/>
    <dgm:cxn modelId="{2A74989D-8787-4D02-8BD3-B0333F6DA503}" type="presOf" srcId="{26018C0D-57D8-4ED6-A88E-C484A4AE7FDB}" destId="{3D4EB2F9-3B09-45FA-A6CC-B4ABB57F75C1}" srcOrd="0" destOrd="0" presId="urn:microsoft.com/office/officeart/2005/8/layout/orgChart1"/>
    <dgm:cxn modelId="{DFEFC1A0-1FC4-4E95-B9C9-0F449C95655C}" type="presOf" srcId="{D3D0C99A-1A2F-48B9-92A7-B5D699B81BB4}" destId="{766BDE4F-B05F-4DE9-9297-2C646DE2E6AF}" srcOrd="0" destOrd="0" presId="urn:microsoft.com/office/officeart/2005/8/layout/orgChart1"/>
    <dgm:cxn modelId="{64AF36A2-FAAE-4A6F-8408-0DAA70EF67D3}" srcId="{D0A0F61B-4303-4677-84F2-61B7E1A91C18}" destId="{3A6AA12D-C2E9-4BD8-BD2C-3FE7294AFEB9}" srcOrd="0" destOrd="0" parTransId="{CB68BD35-2E0D-48E5-8A70-3DF166BD3AE0}" sibTransId="{279954E4-66B2-4DF1-BBD5-CB4E7B281C1D}"/>
    <dgm:cxn modelId="{B7DD91A3-CCE7-4CB4-B37C-53FDDC6BA836}" type="presOf" srcId="{2C8BBE09-D937-4AF8-B69B-DA9CA12F6B02}" destId="{E5B64A66-98C3-4BB7-B533-49BBD6320137}" srcOrd="0" destOrd="0" presId="urn:microsoft.com/office/officeart/2005/8/layout/orgChart1"/>
    <dgm:cxn modelId="{66931EAC-E36B-4C7E-B667-75F915330C0D}" srcId="{3A6AA12D-C2E9-4BD8-BD2C-3FE7294AFEB9}" destId="{DDAD9549-51AC-4852-8D1F-7853EE254EAB}" srcOrd="2" destOrd="0" parTransId="{D3D0C99A-1A2F-48B9-92A7-B5D699B81BB4}" sibTransId="{4D69A56D-7A7B-4814-81BC-D8408374810F}"/>
    <dgm:cxn modelId="{11A413AD-5B67-4931-87CE-EF433FEA3739}" srcId="{3A6AA12D-C2E9-4BD8-BD2C-3FE7294AFEB9}" destId="{356BB6D9-A53C-40AA-9340-A57AFC579674}" srcOrd="4" destOrd="0" parTransId="{2C8BBE09-D937-4AF8-B69B-DA9CA12F6B02}" sibTransId="{2321DCB6-A69E-4DF4-BE16-88C5FCCE48DC}"/>
    <dgm:cxn modelId="{FE45CBAE-DE70-44B0-8572-50F540EE3538}" type="presOf" srcId="{C57AEB62-8521-4B3A-8958-87E1270B529D}" destId="{09F933FE-904C-41E0-8847-5EE14ADC5F19}" srcOrd="0" destOrd="0" presId="urn:microsoft.com/office/officeart/2005/8/layout/orgChart1"/>
    <dgm:cxn modelId="{A464E7B9-0D77-4D52-BEF7-9D604FF3DC08}" type="presOf" srcId="{9FB97EE0-DCD5-4156-8D38-FCFF580D44FD}" destId="{BCA0F817-645B-4DF6-B98A-68FC4A66FB72}" srcOrd="0" destOrd="0" presId="urn:microsoft.com/office/officeart/2005/8/layout/orgChart1"/>
    <dgm:cxn modelId="{D4EFCBBC-F070-4F79-A9F1-362C22BB94FE}" type="presOf" srcId="{B6DB7651-7D81-4F5E-A74E-1CE9D132FFA1}" destId="{919252C1-5E8F-4C1E-8B07-9019D6B598DF}" srcOrd="0" destOrd="0" presId="urn:microsoft.com/office/officeart/2005/8/layout/orgChart1"/>
    <dgm:cxn modelId="{28AD6DC2-7F70-4CF1-BE69-A0B726F63C93}" type="presOf" srcId="{B6DB7651-7D81-4F5E-A74E-1CE9D132FFA1}" destId="{B05F8344-AFEA-433E-AB6E-DA6446A9FBE1}" srcOrd="1" destOrd="0" presId="urn:microsoft.com/office/officeart/2005/8/layout/orgChart1"/>
    <dgm:cxn modelId="{408FDCD7-6D9B-4919-8D87-FEE836EC6689}" type="presOf" srcId="{3BD6BDA0-26C3-403D-88CB-AA822E74B732}" destId="{6A578C9B-36DC-47B6-B550-4B2973A0AD3E}" srcOrd="1" destOrd="0" presId="urn:microsoft.com/office/officeart/2005/8/layout/orgChart1"/>
    <dgm:cxn modelId="{4A4D75DE-8916-4725-9070-945E3EED449F}" type="presOf" srcId="{62C9F470-4316-48F8-8263-FB85C0AF66D0}" destId="{C18E588E-D810-43F6-B8D0-371D7DDA551F}" srcOrd="0" destOrd="0" presId="urn:microsoft.com/office/officeart/2005/8/layout/orgChart1"/>
    <dgm:cxn modelId="{D6DD01DF-9AA7-4FCC-9B56-5694F179575B}" type="presOf" srcId="{356BB6D9-A53C-40AA-9340-A57AFC579674}" destId="{A746DBFA-FF7B-450A-9600-1DCEA1D74B2C}" srcOrd="1" destOrd="0" presId="urn:microsoft.com/office/officeart/2005/8/layout/orgChart1"/>
    <dgm:cxn modelId="{6A986DE3-EA29-42DA-9DE5-1787A7CE0A8D}" type="presOf" srcId="{C57AEB62-8521-4B3A-8958-87E1270B529D}" destId="{019907A6-8841-40DF-BD59-2AE933C6AF50}" srcOrd="1" destOrd="0" presId="urn:microsoft.com/office/officeart/2005/8/layout/orgChart1"/>
    <dgm:cxn modelId="{B62A91E6-1B1E-4C73-880C-82235C311D16}" type="presOf" srcId="{D0A0F61B-4303-4677-84F2-61B7E1A91C18}" destId="{CB5D569C-B44B-4308-B27F-633455E5871F}" srcOrd="0" destOrd="0" presId="urn:microsoft.com/office/officeart/2005/8/layout/orgChart1"/>
    <dgm:cxn modelId="{D8771FEA-5C29-4C98-9410-A0D7FBC06628}" type="presOf" srcId="{78879A09-8796-42CA-8554-7D4602B98BE0}" destId="{0D5A4952-58DB-4379-A0FF-9CF9AA8B30A9}" srcOrd="0" destOrd="0" presId="urn:microsoft.com/office/officeart/2005/8/layout/orgChart1"/>
    <dgm:cxn modelId="{41CA94F0-5A8E-4ACB-8F43-2EE3CFC41C3F}" srcId="{3A6AA12D-C2E9-4BD8-BD2C-3FE7294AFEB9}" destId="{B6DB7651-7D81-4F5E-A74E-1CE9D132FFA1}" srcOrd="1" destOrd="0" parTransId="{62C9F470-4316-48F8-8263-FB85C0AF66D0}" sibTransId="{DB3F6F20-C891-487A-A115-B4C419FAC740}"/>
    <dgm:cxn modelId="{29057BAA-5C17-4DE3-9C01-9B8EEED7853B}" type="presParOf" srcId="{CB5D569C-B44B-4308-B27F-633455E5871F}" destId="{AB795A0E-3C7B-47E3-BC47-3534A54F9190}" srcOrd="0" destOrd="0" presId="urn:microsoft.com/office/officeart/2005/8/layout/orgChart1"/>
    <dgm:cxn modelId="{C071476A-4F93-452C-84C5-CEDF2FDC26FF}" type="presParOf" srcId="{AB795A0E-3C7B-47E3-BC47-3534A54F9190}" destId="{6AEEC0CB-D732-40ED-98C7-E88C954633C1}" srcOrd="0" destOrd="0" presId="urn:microsoft.com/office/officeart/2005/8/layout/orgChart1"/>
    <dgm:cxn modelId="{11A92872-9377-4006-B8FD-92DA524FCEE7}" type="presParOf" srcId="{6AEEC0CB-D732-40ED-98C7-E88C954633C1}" destId="{3DD70376-3E3F-43E1-B2C6-956970C172ED}" srcOrd="0" destOrd="0" presId="urn:microsoft.com/office/officeart/2005/8/layout/orgChart1"/>
    <dgm:cxn modelId="{91B5E2C8-7E72-4421-8A35-E14AC12CF3EC}" type="presParOf" srcId="{6AEEC0CB-D732-40ED-98C7-E88C954633C1}" destId="{9AB5A911-E489-48AE-B687-7440697238B3}" srcOrd="1" destOrd="0" presId="urn:microsoft.com/office/officeart/2005/8/layout/orgChart1"/>
    <dgm:cxn modelId="{C5F08D8F-789B-4E80-A953-2ED5DEC31E22}" type="presParOf" srcId="{AB795A0E-3C7B-47E3-BC47-3534A54F9190}" destId="{E404BA80-6E0F-4C3E-BC06-4E7117DCF3CE}" srcOrd="1" destOrd="0" presId="urn:microsoft.com/office/officeart/2005/8/layout/orgChart1"/>
    <dgm:cxn modelId="{6B52E496-B737-438F-A448-92E267587A43}" type="presParOf" srcId="{E404BA80-6E0F-4C3E-BC06-4E7117DCF3CE}" destId="{1F1BF832-7D6F-4314-8A20-B77ADD6E09FD}" srcOrd="0" destOrd="0" presId="urn:microsoft.com/office/officeart/2005/8/layout/orgChart1"/>
    <dgm:cxn modelId="{DF652E7C-B1F4-4BA6-BFA7-831FDB1A5BDD}" type="presParOf" srcId="{E404BA80-6E0F-4C3E-BC06-4E7117DCF3CE}" destId="{338F5E53-0455-48EE-ABDF-BFB85DD1E3B8}" srcOrd="1" destOrd="0" presId="urn:microsoft.com/office/officeart/2005/8/layout/orgChart1"/>
    <dgm:cxn modelId="{EB88FCCF-D344-4887-A84B-6FD3AAD27261}" type="presParOf" srcId="{338F5E53-0455-48EE-ABDF-BFB85DD1E3B8}" destId="{3AFE5463-745F-4692-AF4E-CB50EC31BE95}" srcOrd="0" destOrd="0" presId="urn:microsoft.com/office/officeart/2005/8/layout/orgChart1"/>
    <dgm:cxn modelId="{AABC9751-8E32-4104-B8FA-496731470BCC}" type="presParOf" srcId="{3AFE5463-745F-4692-AF4E-CB50EC31BE95}" destId="{BCA0F817-645B-4DF6-B98A-68FC4A66FB72}" srcOrd="0" destOrd="0" presId="urn:microsoft.com/office/officeart/2005/8/layout/orgChart1"/>
    <dgm:cxn modelId="{557A0A2D-732F-4AD9-8689-4042F6FF663D}" type="presParOf" srcId="{3AFE5463-745F-4692-AF4E-CB50EC31BE95}" destId="{2D7AE81F-8C7C-4CA7-9284-3B78B04D4886}" srcOrd="1" destOrd="0" presId="urn:microsoft.com/office/officeart/2005/8/layout/orgChart1"/>
    <dgm:cxn modelId="{3E9C56F5-87AD-4451-8A60-DE19E58F1CC1}" type="presParOf" srcId="{338F5E53-0455-48EE-ABDF-BFB85DD1E3B8}" destId="{57B634ED-9877-4988-A910-1E72805200C1}" srcOrd="1" destOrd="0" presId="urn:microsoft.com/office/officeart/2005/8/layout/orgChart1"/>
    <dgm:cxn modelId="{92845914-1825-46B9-8693-EDA94F8DAA46}" type="presParOf" srcId="{338F5E53-0455-48EE-ABDF-BFB85DD1E3B8}" destId="{33976D44-C62D-46BD-99B9-28ACEAC7D476}" srcOrd="2" destOrd="0" presId="urn:microsoft.com/office/officeart/2005/8/layout/orgChart1"/>
    <dgm:cxn modelId="{6FC688F4-DA59-404B-82C2-93352CA80F1D}" type="presParOf" srcId="{E404BA80-6E0F-4C3E-BC06-4E7117DCF3CE}" destId="{C18E588E-D810-43F6-B8D0-371D7DDA551F}" srcOrd="2" destOrd="0" presId="urn:microsoft.com/office/officeart/2005/8/layout/orgChart1"/>
    <dgm:cxn modelId="{F9DA5115-2867-4260-8456-2D42F0F43FE6}" type="presParOf" srcId="{E404BA80-6E0F-4C3E-BC06-4E7117DCF3CE}" destId="{84EB36B9-62D1-4B5C-A597-7F19B7690CBB}" srcOrd="3" destOrd="0" presId="urn:microsoft.com/office/officeart/2005/8/layout/orgChart1"/>
    <dgm:cxn modelId="{3E6B6D14-C6B1-4C5C-BD39-573E8A8B9E05}" type="presParOf" srcId="{84EB36B9-62D1-4B5C-A597-7F19B7690CBB}" destId="{FF286CB8-4EF0-4920-A52C-FE142401368E}" srcOrd="0" destOrd="0" presId="urn:microsoft.com/office/officeart/2005/8/layout/orgChart1"/>
    <dgm:cxn modelId="{31A182DD-6D2A-4A12-8C47-956FA0DCB4E1}" type="presParOf" srcId="{FF286CB8-4EF0-4920-A52C-FE142401368E}" destId="{919252C1-5E8F-4C1E-8B07-9019D6B598DF}" srcOrd="0" destOrd="0" presId="urn:microsoft.com/office/officeart/2005/8/layout/orgChart1"/>
    <dgm:cxn modelId="{C2B74B97-2AE3-4A4E-90CB-CB83D81F4791}" type="presParOf" srcId="{FF286CB8-4EF0-4920-A52C-FE142401368E}" destId="{B05F8344-AFEA-433E-AB6E-DA6446A9FBE1}" srcOrd="1" destOrd="0" presId="urn:microsoft.com/office/officeart/2005/8/layout/orgChart1"/>
    <dgm:cxn modelId="{F5D335B5-B479-4E14-921B-AAE19D972589}" type="presParOf" srcId="{84EB36B9-62D1-4B5C-A597-7F19B7690CBB}" destId="{D6EB8568-0C1F-45AB-B966-8E98CC819E16}" srcOrd="1" destOrd="0" presId="urn:microsoft.com/office/officeart/2005/8/layout/orgChart1"/>
    <dgm:cxn modelId="{850463DC-01D9-4C3B-AA4E-789EA866B1ED}" type="presParOf" srcId="{84EB36B9-62D1-4B5C-A597-7F19B7690CBB}" destId="{B7191E19-DD2A-4BAB-A4A6-36528F9B308C}" srcOrd="2" destOrd="0" presId="urn:microsoft.com/office/officeart/2005/8/layout/orgChart1"/>
    <dgm:cxn modelId="{6935BBB6-629E-4BC9-A59C-6F66DF7DBDF5}" type="presParOf" srcId="{E404BA80-6E0F-4C3E-BC06-4E7117DCF3CE}" destId="{766BDE4F-B05F-4DE9-9297-2C646DE2E6AF}" srcOrd="4" destOrd="0" presId="urn:microsoft.com/office/officeart/2005/8/layout/orgChart1"/>
    <dgm:cxn modelId="{C907E441-1B42-406F-B9AA-A926EF6CF8E7}" type="presParOf" srcId="{E404BA80-6E0F-4C3E-BC06-4E7117DCF3CE}" destId="{1CBB0A5B-52FA-4FDC-A7F6-04043CF6D315}" srcOrd="5" destOrd="0" presId="urn:microsoft.com/office/officeart/2005/8/layout/orgChart1"/>
    <dgm:cxn modelId="{9E33E51E-D96A-43C8-9668-93F102F6850F}" type="presParOf" srcId="{1CBB0A5B-52FA-4FDC-A7F6-04043CF6D315}" destId="{59E27656-95E6-4F48-866C-8989D63D5D9B}" srcOrd="0" destOrd="0" presId="urn:microsoft.com/office/officeart/2005/8/layout/orgChart1"/>
    <dgm:cxn modelId="{EB9FA229-154A-4237-8874-8193BD77356C}" type="presParOf" srcId="{59E27656-95E6-4F48-866C-8989D63D5D9B}" destId="{CB31C50E-0282-4D4F-B0CC-4E9722E2149F}" srcOrd="0" destOrd="0" presId="urn:microsoft.com/office/officeart/2005/8/layout/orgChart1"/>
    <dgm:cxn modelId="{EA36CBFE-0902-4C45-BFE5-A5AA52682529}" type="presParOf" srcId="{59E27656-95E6-4F48-866C-8989D63D5D9B}" destId="{5BE1293F-E52E-4364-815E-BA964B2E313E}" srcOrd="1" destOrd="0" presId="urn:microsoft.com/office/officeart/2005/8/layout/orgChart1"/>
    <dgm:cxn modelId="{B78C26ED-8C00-4DBF-A657-4C51C8C8D354}" type="presParOf" srcId="{1CBB0A5B-52FA-4FDC-A7F6-04043CF6D315}" destId="{4DF886EB-5C4D-4256-BFCD-293C86C11368}" srcOrd="1" destOrd="0" presId="urn:microsoft.com/office/officeart/2005/8/layout/orgChart1"/>
    <dgm:cxn modelId="{2F32B33E-83F7-4C42-A5E2-1BECA668C468}" type="presParOf" srcId="{1CBB0A5B-52FA-4FDC-A7F6-04043CF6D315}" destId="{7322A613-0704-460A-A42A-D682B2D8407D}" srcOrd="2" destOrd="0" presId="urn:microsoft.com/office/officeart/2005/8/layout/orgChart1"/>
    <dgm:cxn modelId="{B5E89264-3B83-4C7C-8693-DE619F9601E8}" type="presParOf" srcId="{E404BA80-6E0F-4C3E-BC06-4E7117DCF3CE}" destId="{EBDEDD73-1A0D-448D-87EC-AF798632099F}" srcOrd="6" destOrd="0" presId="urn:microsoft.com/office/officeart/2005/8/layout/orgChart1"/>
    <dgm:cxn modelId="{8A220EB8-8CAD-41CA-A070-7080B8223DA0}" type="presParOf" srcId="{E404BA80-6E0F-4C3E-BC06-4E7117DCF3CE}" destId="{C82B6449-FC96-4809-891D-3F77115F2A6E}" srcOrd="7" destOrd="0" presId="urn:microsoft.com/office/officeart/2005/8/layout/orgChart1"/>
    <dgm:cxn modelId="{18C5BD65-3C20-4BAA-B544-FDBC08E6973E}" type="presParOf" srcId="{C82B6449-FC96-4809-891D-3F77115F2A6E}" destId="{D4CF06AD-AC28-4337-8DC4-C77F82AF429A}" srcOrd="0" destOrd="0" presId="urn:microsoft.com/office/officeart/2005/8/layout/orgChart1"/>
    <dgm:cxn modelId="{7371F6D0-E394-47B9-AA15-BC400041C169}" type="presParOf" srcId="{D4CF06AD-AC28-4337-8DC4-C77F82AF429A}" destId="{609EB9A4-2680-422B-ADA3-4CA28FF595B7}" srcOrd="0" destOrd="0" presId="urn:microsoft.com/office/officeart/2005/8/layout/orgChart1"/>
    <dgm:cxn modelId="{4F8F640D-899F-458F-B9B6-FDBB74BF4352}" type="presParOf" srcId="{D4CF06AD-AC28-4337-8DC4-C77F82AF429A}" destId="{6A578C9B-36DC-47B6-B550-4B2973A0AD3E}" srcOrd="1" destOrd="0" presId="urn:microsoft.com/office/officeart/2005/8/layout/orgChart1"/>
    <dgm:cxn modelId="{698B292B-E260-40FA-9473-3E10F23CF7FD}" type="presParOf" srcId="{C82B6449-FC96-4809-891D-3F77115F2A6E}" destId="{AD9A910C-E527-4DA9-9196-9F0784AF9A03}" srcOrd="1" destOrd="0" presId="urn:microsoft.com/office/officeart/2005/8/layout/orgChart1"/>
    <dgm:cxn modelId="{838710EE-17E7-4CCB-99EA-7BD674627B5E}" type="presParOf" srcId="{C82B6449-FC96-4809-891D-3F77115F2A6E}" destId="{CB6FB5E4-D783-4232-B545-77163E1752CE}" srcOrd="2" destOrd="0" presId="urn:microsoft.com/office/officeart/2005/8/layout/orgChart1"/>
    <dgm:cxn modelId="{2F4CEABC-468E-45F7-B92F-C380C9893CE0}" type="presParOf" srcId="{E404BA80-6E0F-4C3E-BC06-4E7117DCF3CE}" destId="{E5B64A66-98C3-4BB7-B533-49BBD6320137}" srcOrd="8" destOrd="0" presId="urn:microsoft.com/office/officeart/2005/8/layout/orgChart1"/>
    <dgm:cxn modelId="{EB2F7685-3280-49D4-AA09-58AAE1F084E4}" type="presParOf" srcId="{E404BA80-6E0F-4C3E-BC06-4E7117DCF3CE}" destId="{C9AC80DA-5C67-471C-A517-09C56065513F}" srcOrd="9" destOrd="0" presId="urn:microsoft.com/office/officeart/2005/8/layout/orgChart1"/>
    <dgm:cxn modelId="{F4A2FE12-3F4D-4843-821D-F9DEB91D8BF0}" type="presParOf" srcId="{C9AC80DA-5C67-471C-A517-09C56065513F}" destId="{5750CD8B-3CA9-4453-A7EE-8F1E255127A6}" srcOrd="0" destOrd="0" presId="urn:microsoft.com/office/officeart/2005/8/layout/orgChart1"/>
    <dgm:cxn modelId="{AD079B31-DA43-46EE-B418-336CE2230B04}" type="presParOf" srcId="{5750CD8B-3CA9-4453-A7EE-8F1E255127A6}" destId="{8A836A0C-FAC7-4158-B0FF-92C12F5D70AB}" srcOrd="0" destOrd="0" presId="urn:microsoft.com/office/officeart/2005/8/layout/orgChart1"/>
    <dgm:cxn modelId="{0AF843CA-2DA0-416C-8AA9-6F8CC1D5D13E}" type="presParOf" srcId="{5750CD8B-3CA9-4453-A7EE-8F1E255127A6}" destId="{A746DBFA-FF7B-450A-9600-1DCEA1D74B2C}" srcOrd="1" destOrd="0" presId="urn:microsoft.com/office/officeart/2005/8/layout/orgChart1"/>
    <dgm:cxn modelId="{1561FB6D-80EB-44CF-82B8-9072CB60A1FA}" type="presParOf" srcId="{C9AC80DA-5C67-471C-A517-09C56065513F}" destId="{D6908B42-389D-4B5A-BA13-88E673F4D8AC}" srcOrd="1" destOrd="0" presId="urn:microsoft.com/office/officeart/2005/8/layout/orgChart1"/>
    <dgm:cxn modelId="{496E5F59-6298-43B6-8166-78249A6D221C}" type="presParOf" srcId="{C9AC80DA-5C67-471C-A517-09C56065513F}" destId="{6FC657D7-A26A-4CF7-8A36-60820E479DED}" srcOrd="2" destOrd="0" presId="urn:microsoft.com/office/officeart/2005/8/layout/orgChart1"/>
    <dgm:cxn modelId="{AB4EC589-91DF-499A-99A6-E83137963056}" type="presParOf" srcId="{E404BA80-6E0F-4C3E-BC06-4E7117DCF3CE}" destId="{0D5A4952-58DB-4379-A0FF-9CF9AA8B30A9}" srcOrd="10" destOrd="0" presId="urn:microsoft.com/office/officeart/2005/8/layout/orgChart1"/>
    <dgm:cxn modelId="{E349D361-169E-438F-A7B2-248483B91DB5}" type="presParOf" srcId="{E404BA80-6E0F-4C3E-BC06-4E7117DCF3CE}" destId="{D2909641-ED8A-4F63-8E22-D0C2F560868D}" srcOrd="11" destOrd="0" presId="urn:microsoft.com/office/officeart/2005/8/layout/orgChart1"/>
    <dgm:cxn modelId="{78E7B13E-8B62-4C15-8545-E4C8D4F17074}" type="presParOf" srcId="{D2909641-ED8A-4F63-8E22-D0C2F560868D}" destId="{8747B277-287C-4F96-AAF1-71B5A44990BB}" srcOrd="0" destOrd="0" presId="urn:microsoft.com/office/officeart/2005/8/layout/orgChart1"/>
    <dgm:cxn modelId="{3F9300D6-2600-47B1-B155-326327E6D84B}" type="presParOf" srcId="{8747B277-287C-4F96-AAF1-71B5A44990BB}" destId="{6E21471F-70DD-425A-96EB-D138019D0017}" srcOrd="0" destOrd="0" presId="urn:microsoft.com/office/officeart/2005/8/layout/orgChart1"/>
    <dgm:cxn modelId="{891E012C-14F3-4EE8-8B88-FBBE39ABC9C8}" type="presParOf" srcId="{8747B277-287C-4F96-AAF1-71B5A44990BB}" destId="{4434DAB3-9F54-4E34-870E-DE4B9CBDF485}" srcOrd="1" destOrd="0" presId="urn:microsoft.com/office/officeart/2005/8/layout/orgChart1"/>
    <dgm:cxn modelId="{3BDE28C2-114C-4EB1-9D33-A2CE2E72044A}" type="presParOf" srcId="{D2909641-ED8A-4F63-8E22-D0C2F560868D}" destId="{6D49527A-6F9D-48D3-82C3-4CC6BEAC2FC9}" srcOrd="1" destOrd="0" presId="urn:microsoft.com/office/officeart/2005/8/layout/orgChart1"/>
    <dgm:cxn modelId="{C4532B28-B427-458A-B237-805304BA93E4}" type="presParOf" srcId="{D2909641-ED8A-4F63-8E22-D0C2F560868D}" destId="{25160CDE-B463-4E43-B76B-D9F74A3CA323}" srcOrd="2" destOrd="0" presId="urn:microsoft.com/office/officeart/2005/8/layout/orgChart1"/>
    <dgm:cxn modelId="{901A7285-A767-4579-9A82-EFD51C9E4802}" type="presParOf" srcId="{E404BA80-6E0F-4C3E-BC06-4E7117DCF3CE}" destId="{7C650D1E-3017-4717-95CC-BB314B759F2C}" srcOrd="12" destOrd="0" presId="urn:microsoft.com/office/officeart/2005/8/layout/orgChart1"/>
    <dgm:cxn modelId="{871B8F69-7AEC-455D-AB5A-F3E1F8BF1527}" type="presParOf" srcId="{E404BA80-6E0F-4C3E-BC06-4E7117DCF3CE}" destId="{4C66E9E1-6C36-4396-934D-67AA4CDE3382}" srcOrd="13" destOrd="0" presId="urn:microsoft.com/office/officeart/2005/8/layout/orgChart1"/>
    <dgm:cxn modelId="{4B758311-419C-4D4C-B2DD-A194CAC1D97D}" type="presParOf" srcId="{4C66E9E1-6C36-4396-934D-67AA4CDE3382}" destId="{D35D85B9-3FC5-4C6D-B06C-532F87EB7C78}" srcOrd="0" destOrd="0" presId="urn:microsoft.com/office/officeart/2005/8/layout/orgChart1"/>
    <dgm:cxn modelId="{5BAD28E7-0187-404B-BB9C-698BCDF6482B}" type="presParOf" srcId="{D35D85B9-3FC5-4C6D-B06C-532F87EB7C78}" destId="{09F933FE-904C-41E0-8847-5EE14ADC5F19}" srcOrd="0" destOrd="0" presId="urn:microsoft.com/office/officeart/2005/8/layout/orgChart1"/>
    <dgm:cxn modelId="{899A1936-2B12-4688-82C4-87D0B0A8A069}" type="presParOf" srcId="{D35D85B9-3FC5-4C6D-B06C-532F87EB7C78}" destId="{019907A6-8841-40DF-BD59-2AE933C6AF50}" srcOrd="1" destOrd="0" presId="urn:microsoft.com/office/officeart/2005/8/layout/orgChart1"/>
    <dgm:cxn modelId="{BAC37B21-89FD-4C41-8E10-1538BBF7620D}" type="presParOf" srcId="{4C66E9E1-6C36-4396-934D-67AA4CDE3382}" destId="{8C029093-EDCE-41EE-BBC1-026AF27C95C6}" srcOrd="1" destOrd="0" presId="urn:microsoft.com/office/officeart/2005/8/layout/orgChart1"/>
    <dgm:cxn modelId="{A29601C7-872C-405F-AC37-6103E52D8808}" type="presParOf" srcId="{4C66E9E1-6C36-4396-934D-67AA4CDE3382}" destId="{E452553B-C85A-4293-B98D-38AFFA531F0C}" srcOrd="2" destOrd="0" presId="urn:microsoft.com/office/officeart/2005/8/layout/orgChart1"/>
    <dgm:cxn modelId="{5206FFB5-CF61-473E-8EDD-BA0DE8FD846E}" type="presParOf" srcId="{E404BA80-6E0F-4C3E-BC06-4E7117DCF3CE}" destId="{3C8AB344-DDA2-4C65-9FAE-8474291F8300}" srcOrd="14" destOrd="0" presId="urn:microsoft.com/office/officeart/2005/8/layout/orgChart1"/>
    <dgm:cxn modelId="{A01B69B6-EDB0-4E7F-B51A-A8F75C8C9826}" type="presParOf" srcId="{E404BA80-6E0F-4C3E-BC06-4E7117DCF3CE}" destId="{B15583D3-9B6E-4A52-8503-28A41B2EB79E}" srcOrd="15" destOrd="0" presId="urn:microsoft.com/office/officeart/2005/8/layout/orgChart1"/>
    <dgm:cxn modelId="{FF930C59-5D06-472C-BE64-6D84D55B1638}" type="presParOf" srcId="{B15583D3-9B6E-4A52-8503-28A41B2EB79E}" destId="{FE601759-9972-435F-92EE-E450BF08EC6F}" srcOrd="0" destOrd="0" presId="urn:microsoft.com/office/officeart/2005/8/layout/orgChart1"/>
    <dgm:cxn modelId="{57FEF5BE-F90E-4EBB-9252-3EE196DAA8AA}" type="presParOf" srcId="{FE601759-9972-435F-92EE-E450BF08EC6F}" destId="{3D4EB2F9-3B09-45FA-A6CC-B4ABB57F75C1}" srcOrd="0" destOrd="0" presId="urn:microsoft.com/office/officeart/2005/8/layout/orgChart1"/>
    <dgm:cxn modelId="{A7367F81-AD6B-4F44-9DBF-6511AD8C006C}" type="presParOf" srcId="{FE601759-9972-435F-92EE-E450BF08EC6F}" destId="{3035AC2D-A387-4228-9E38-423DF014FF0A}" srcOrd="1" destOrd="0" presId="urn:microsoft.com/office/officeart/2005/8/layout/orgChart1"/>
    <dgm:cxn modelId="{F7751A0D-9280-473E-BB18-142C4361AD25}" type="presParOf" srcId="{B15583D3-9B6E-4A52-8503-28A41B2EB79E}" destId="{E4548A40-41F8-4DC0-9F8F-122C27CA444F}" srcOrd="1" destOrd="0" presId="urn:microsoft.com/office/officeart/2005/8/layout/orgChart1"/>
    <dgm:cxn modelId="{4D5A2E5F-1BCD-4397-ABD1-D8AE053AEA7F}" type="presParOf" srcId="{B15583D3-9B6E-4A52-8503-28A41B2EB79E}" destId="{42CD9089-A891-4D21-96B3-C7EEB57C8CF7}" srcOrd="2" destOrd="0" presId="urn:microsoft.com/office/officeart/2005/8/layout/orgChart1"/>
    <dgm:cxn modelId="{0D55C80E-8C62-48F3-97AA-07336229F4B9}" type="presParOf" srcId="{AB795A0E-3C7B-47E3-BC47-3534A54F9190}" destId="{393210D2-D629-4CE1-A3A4-675C9384F18A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D0A0F61B-4303-4677-84F2-61B7E1A91C18}" type="doc">
      <dgm:prSet loTypeId="urn:microsoft.com/office/officeart/2005/8/layout/orgChart1" loCatId="hierarchy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3A6AA12D-C2E9-4BD8-BD2C-3FE7294AFEB9}">
      <dgm:prSet custT="1"/>
      <dgm:spPr/>
      <dgm:t>
        <a:bodyPr/>
        <a:lstStyle/>
        <a:p>
          <a:r>
            <a:rPr lang="de-DE" sz="1000"/>
            <a:t>Attribute</a:t>
          </a:r>
        </a:p>
      </dgm:t>
    </dgm:pt>
    <dgm:pt modelId="{CB68BD35-2E0D-48E5-8A70-3DF166BD3AE0}" type="parTrans" cxnId="{64AF36A2-FAAE-4A6F-8408-0DAA70EF67D3}">
      <dgm:prSet/>
      <dgm:spPr/>
      <dgm:t>
        <a:bodyPr/>
        <a:lstStyle/>
        <a:p>
          <a:endParaRPr lang="de-DE"/>
        </a:p>
      </dgm:t>
    </dgm:pt>
    <dgm:pt modelId="{279954E4-66B2-4DF1-BBD5-CB4E7B281C1D}" type="sibTrans" cxnId="{64AF36A2-FAAE-4A6F-8408-0DAA70EF67D3}">
      <dgm:prSet/>
      <dgm:spPr/>
      <dgm:t>
        <a:bodyPr/>
        <a:lstStyle/>
        <a:p>
          <a:endParaRPr lang="de-DE"/>
        </a:p>
      </dgm:t>
    </dgm:pt>
    <dgm:pt modelId="{9FB97EE0-DCD5-4156-8D38-FCFF580D44FD}">
      <dgm:prSet custT="1"/>
      <dgm:spPr/>
      <dgm:t>
        <a:bodyPr/>
        <a:lstStyle/>
        <a:p>
          <a:r>
            <a:rPr lang="de-DE" sz="1000" dirty="0"/>
            <a:t>Verein</a:t>
          </a:r>
        </a:p>
      </dgm:t>
    </dgm:pt>
    <dgm:pt modelId="{FF1888FE-33B9-4643-AE7A-09A40E256103}" type="parTrans" cxnId="{DF6C7C4B-810F-4B4F-8577-277D98D6FA11}">
      <dgm:prSet/>
      <dgm:spPr/>
      <dgm:t>
        <a:bodyPr/>
        <a:lstStyle/>
        <a:p>
          <a:endParaRPr lang="de-DE" sz="1000"/>
        </a:p>
      </dgm:t>
    </dgm:pt>
    <dgm:pt modelId="{58FFF5EC-3E90-4DDD-A670-28424277750F}" type="sibTrans" cxnId="{DF6C7C4B-810F-4B4F-8577-277D98D6FA11}">
      <dgm:prSet/>
      <dgm:spPr/>
      <dgm:t>
        <a:bodyPr/>
        <a:lstStyle/>
        <a:p>
          <a:endParaRPr lang="de-DE"/>
        </a:p>
      </dgm:t>
    </dgm:pt>
    <dgm:pt modelId="{B6DB7651-7D81-4F5E-A74E-1CE9D132FFA1}">
      <dgm:prSet custT="1"/>
      <dgm:spPr/>
      <dgm:t>
        <a:bodyPr/>
        <a:lstStyle/>
        <a:p>
          <a:r>
            <a:rPr lang="de-DE" sz="1000"/>
            <a:t>Saison</a:t>
          </a:r>
        </a:p>
      </dgm:t>
    </dgm:pt>
    <dgm:pt modelId="{62C9F470-4316-48F8-8263-FB85C0AF66D0}" type="parTrans" cxnId="{41CA94F0-5A8E-4ACB-8F43-2EE3CFC41C3F}">
      <dgm:prSet/>
      <dgm:spPr/>
      <dgm:t>
        <a:bodyPr/>
        <a:lstStyle/>
        <a:p>
          <a:endParaRPr lang="de-DE" sz="1000"/>
        </a:p>
      </dgm:t>
    </dgm:pt>
    <dgm:pt modelId="{DB3F6F20-C891-487A-A115-B4C419FAC740}" type="sibTrans" cxnId="{41CA94F0-5A8E-4ACB-8F43-2EE3CFC41C3F}">
      <dgm:prSet/>
      <dgm:spPr/>
      <dgm:t>
        <a:bodyPr/>
        <a:lstStyle/>
        <a:p>
          <a:endParaRPr lang="de-DE"/>
        </a:p>
      </dgm:t>
    </dgm:pt>
    <dgm:pt modelId="{DDAD9549-51AC-4852-8D1F-7853EE254EAB}">
      <dgm:prSet custT="1"/>
      <dgm:spPr/>
      <dgm:t>
        <a:bodyPr/>
        <a:lstStyle/>
        <a:p>
          <a:r>
            <a:rPr lang="de-DE" sz="1000" dirty="0"/>
            <a:t>Anzahl Kader</a:t>
          </a:r>
        </a:p>
      </dgm:t>
    </dgm:pt>
    <dgm:pt modelId="{D3D0C99A-1A2F-48B9-92A7-B5D699B81BB4}" type="parTrans" cxnId="{66931EAC-E36B-4C7E-B667-75F915330C0D}">
      <dgm:prSet/>
      <dgm:spPr/>
      <dgm:t>
        <a:bodyPr/>
        <a:lstStyle/>
        <a:p>
          <a:endParaRPr lang="de-DE" sz="1000"/>
        </a:p>
      </dgm:t>
    </dgm:pt>
    <dgm:pt modelId="{4D69A56D-7A7B-4814-81BC-D8408374810F}" type="sibTrans" cxnId="{66931EAC-E36B-4C7E-B667-75F915330C0D}">
      <dgm:prSet/>
      <dgm:spPr/>
      <dgm:t>
        <a:bodyPr/>
        <a:lstStyle/>
        <a:p>
          <a:endParaRPr lang="de-DE"/>
        </a:p>
      </dgm:t>
    </dgm:pt>
    <dgm:pt modelId="{3BD6BDA0-26C3-403D-88CB-AA822E74B732}">
      <dgm:prSet custT="1"/>
      <dgm:spPr/>
      <dgm:t>
        <a:bodyPr/>
        <a:lstStyle/>
        <a:p>
          <a:r>
            <a:rPr lang="de-DE" sz="1000" dirty="0"/>
            <a:t>Durchschnitts-alter der Spieler</a:t>
          </a:r>
        </a:p>
      </dgm:t>
    </dgm:pt>
    <dgm:pt modelId="{65A34516-2507-40EF-8E38-D5D5269E852E}" type="parTrans" cxnId="{9FC21D5B-06BC-49E5-8C4E-F480E835FE0A}">
      <dgm:prSet/>
      <dgm:spPr/>
      <dgm:t>
        <a:bodyPr/>
        <a:lstStyle/>
        <a:p>
          <a:endParaRPr lang="de-DE" sz="1000"/>
        </a:p>
      </dgm:t>
    </dgm:pt>
    <dgm:pt modelId="{875E4EA7-E344-4050-AAC7-9D78DAA4E1B4}" type="sibTrans" cxnId="{9FC21D5B-06BC-49E5-8C4E-F480E835FE0A}">
      <dgm:prSet/>
      <dgm:spPr/>
      <dgm:t>
        <a:bodyPr/>
        <a:lstStyle/>
        <a:p>
          <a:endParaRPr lang="de-DE"/>
        </a:p>
      </dgm:t>
    </dgm:pt>
    <dgm:pt modelId="{356BB6D9-A53C-40AA-9340-A57AFC579674}">
      <dgm:prSet custT="1"/>
      <dgm:spPr/>
      <dgm:t>
        <a:bodyPr/>
        <a:lstStyle/>
        <a:p>
          <a:r>
            <a:rPr lang="de-DE" sz="1000" dirty="0"/>
            <a:t>Anzahl Legionäre</a:t>
          </a:r>
        </a:p>
      </dgm:t>
    </dgm:pt>
    <dgm:pt modelId="{2C8BBE09-D937-4AF8-B69B-DA9CA12F6B02}" type="parTrans" cxnId="{11A413AD-5B67-4931-87CE-EF433FEA3739}">
      <dgm:prSet/>
      <dgm:spPr/>
      <dgm:t>
        <a:bodyPr/>
        <a:lstStyle/>
        <a:p>
          <a:endParaRPr lang="de-DE" sz="1000"/>
        </a:p>
      </dgm:t>
    </dgm:pt>
    <dgm:pt modelId="{2321DCB6-A69E-4DF4-BE16-88C5FCCE48DC}" type="sibTrans" cxnId="{11A413AD-5B67-4931-87CE-EF433FEA3739}">
      <dgm:prSet/>
      <dgm:spPr/>
      <dgm:t>
        <a:bodyPr/>
        <a:lstStyle/>
        <a:p>
          <a:endParaRPr lang="de-DE"/>
        </a:p>
      </dgm:t>
    </dgm:pt>
    <dgm:pt modelId="{4CBA4916-03C1-4A6B-AF7E-954DE1AB4700}">
      <dgm:prSet custT="1"/>
      <dgm:spPr/>
      <dgm:t>
        <a:bodyPr/>
        <a:lstStyle/>
        <a:p>
          <a:r>
            <a:rPr lang="de-DE" sz="1000" dirty="0"/>
            <a:t>Durchschnittlicher Marktwert</a:t>
          </a:r>
        </a:p>
      </dgm:t>
    </dgm:pt>
    <dgm:pt modelId="{78879A09-8796-42CA-8554-7D4602B98BE0}" type="parTrans" cxnId="{E5C03097-8C23-405D-8CB3-ED598E296DC3}">
      <dgm:prSet/>
      <dgm:spPr/>
      <dgm:t>
        <a:bodyPr/>
        <a:lstStyle/>
        <a:p>
          <a:endParaRPr lang="de-DE" sz="1000"/>
        </a:p>
      </dgm:t>
    </dgm:pt>
    <dgm:pt modelId="{D1522DCD-FAB1-4478-862F-3D1E39FDE66C}" type="sibTrans" cxnId="{E5C03097-8C23-405D-8CB3-ED598E296DC3}">
      <dgm:prSet/>
      <dgm:spPr/>
      <dgm:t>
        <a:bodyPr/>
        <a:lstStyle/>
        <a:p>
          <a:endParaRPr lang="de-DE"/>
        </a:p>
      </dgm:t>
    </dgm:pt>
    <dgm:pt modelId="{C57AEB62-8521-4B3A-8958-87E1270B529D}">
      <dgm:prSet custT="1"/>
      <dgm:spPr/>
      <dgm:t>
        <a:bodyPr/>
        <a:lstStyle/>
        <a:p>
          <a:r>
            <a:rPr lang="de-DE" sz="1000" dirty="0"/>
            <a:t>Gesamtmarkt- wert</a:t>
          </a:r>
        </a:p>
      </dgm:t>
    </dgm:pt>
    <dgm:pt modelId="{52018A7B-3ADD-46AE-AA01-F8F8C6C7FE96}" type="parTrans" cxnId="{1D6C916D-396B-4F46-8DBA-7510D0EB5C8F}">
      <dgm:prSet/>
      <dgm:spPr/>
      <dgm:t>
        <a:bodyPr/>
        <a:lstStyle/>
        <a:p>
          <a:endParaRPr lang="de-DE" sz="1000"/>
        </a:p>
      </dgm:t>
    </dgm:pt>
    <dgm:pt modelId="{29608A20-D110-42A1-9C64-14C0B62390F1}" type="sibTrans" cxnId="{1D6C916D-396B-4F46-8DBA-7510D0EB5C8F}">
      <dgm:prSet/>
      <dgm:spPr/>
      <dgm:t>
        <a:bodyPr/>
        <a:lstStyle/>
        <a:p>
          <a:endParaRPr lang="de-DE"/>
        </a:p>
      </dgm:t>
    </dgm:pt>
    <dgm:pt modelId="{CB5D569C-B44B-4308-B27F-633455E5871F}" type="pres">
      <dgm:prSet presAssocID="{D0A0F61B-4303-4677-84F2-61B7E1A91C18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AB795A0E-3C7B-47E3-BC47-3534A54F9190}" type="pres">
      <dgm:prSet presAssocID="{3A6AA12D-C2E9-4BD8-BD2C-3FE7294AFEB9}" presName="hierRoot1" presStyleCnt="0">
        <dgm:presLayoutVars>
          <dgm:hierBranch val="init"/>
        </dgm:presLayoutVars>
      </dgm:prSet>
      <dgm:spPr/>
    </dgm:pt>
    <dgm:pt modelId="{6AEEC0CB-D732-40ED-98C7-E88C954633C1}" type="pres">
      <dgm:prSet presAssocID="{3A6AA12D-C2E9-4BD8-BD2C-3FE7294AFEB9}" presName="rootComposite1" presStyleCnt="0"/>
      <dgm:spPr/>
    </dgm:pt>
    <dgm:pt modelId="{3DD70376-3E3F-43E1-B2C6-956970C172ED}" type="pres">
      <dgm:prSet presAssocID="{3A6AA12D-C2E9-4BD8-BD2C-3FE7294AFEB9}" presName="rootText1" presStyleLbl="node0" presStyleIdx="0" presStyleCnt="1" custScaleX="224472" custScaleY="263868">
        <dgm:presLayoutVars>
          <dgm:chPref val="3"/>
        </dgm:presLayoutVars>
      </dgm:prSet>
      <dgm:spPr/>
    </dgm:pt>
    <dgm:pt modelId="{9AB5A911-E489-48AE-B687-7440697238B3}" type="pres">
      <dgm:prSet presAssocID="{3A6AA12D-C2E9-4BD8-BD2C-3FE7294AFEB9}" presName="rootConnector1" presStyleLbl="node1" presStyleIdx="0" presStyleCnt="0"/>
      <dgm:spPr/>
    </dgm:pt>
    <dgm:pt modelId="{E404BA80-6E0F-4C3E-BC06-4E7117DCF3CE}" type="pres">
      <dgm:prSet presAssocID="{3A6AA12D-C2E9-4BD8-BD2C-3FE7294AFEB9}" presName="hierChild2" presStyleCnt="0"/>
      <dgm:spPr/>
    </dgm:pt>
    <dgm:pt modelId="{1F1BF832-7D6F-4314-8A20-B77ADD6E09FD}" type="pres">
      <dgm:prSet presAssocID="{FF1888FE-33B9-4643-AE7A-09A40E256103}" presName="Name37" presStyleLbl="parChTrans1D2" presStyleIdx="0" presStyleCnt="7" custSzX="6005334" custSzY="306613"/>
      <dgm:spPr/>
    </dgm:pt>
    <dgm:pt modelId="{338F5E53-0455-48EE-ABDF-BFB85DD1E3B8}" type="pres">
      <dgm:prSet presAssocID="{9FB97EE0-DCD5-4156-8D38-FCFF580D44FD}" presName="hierRoot2" presStyleCnt="0">
        <dgm:presLayoutVars>
          <dgm:hierBranch val="init"/>
        </dgm:presLayoutVars>
      </dgm:prSet>
      <dgm:spPr/>
    </dgm:pt>
    <dgm:pt modelId="{3AFE5463-745F-4692-AF4E-CB50EC31BE95}" type="pres">
      <dgm:prSet presAssocID="{9FB97EE0-DCD5-4156-8D38-FCFF580D44FD}" presName="rootComposite" presStyleCnt="0"/>
      <dgm:spPr/>
    </dgm:pt>
    <dgm:pt modelId="{BCA0F817-645B-4DF6-B98A-68FC4A66FB72}" type="pres">
      <dgm:prSet presAssocID="{9FB97EE0-DCD5-4156-8D38-FCFF580D44FD}" presName="rootText" presStyleLbl="node2" presStyleIdx="0" presStyleCnt="7" custScaleX="224472" custScaleY="263868">
        <dgm:presLayoutVars>
          <dgm:chPref val="3"/>
        </dgm:presLayoutVars>
      </dgm:prSet>
      <dgm:spPr/>
    </dgm:pt>
    <dgm:pt modelId="{2D7AE81F-8C7C-4CA7-9284-3B78B04D4886}" type="pres">
      <dgm:prSet presAssocID="{9FB97EE0-DCD5-4156-8D38-FCFF580D44FD}" presName="rootConnector" presStyleLbl="node2" presStyleIdx="0" presStyleCnt="7"/>
      <dgm:spPr/>
    </dgm:pt>
    <dgm:pt modelId="{57B634ED-9877-4988-A910-1E72805200C1}" type="pres">
      <dgm:prSet presAssocID="{9FB97EE0-DCD5-4156-8D38-FCFF580D44FD}" presName="hierChild4" presStyleCnt="0"/>
      <dgm:spPr/>
    </dgm:pt>
    <dgm:pt modelId="{33976D44-C62D-46BD-99B9-28ACEAC7D476}" type="pres">
      <dgm:prSet presAssocID="{9FB97EE0-DCD5-4156-8D38-FCFF580D44FD}" presName="hierChild5" presStyleCnt="0"/>
      <dgm:spPr/>
    </dgm:pt>
    <dgm:pt modelId="{C18E588E-D810-43F6-B8D0-371D7DDA551F}" type="pres">
      <dgm:prSet presAssocID="{62C9F470-4316-48F8-8263-FB85C0AF66D0}" presName="Name37" presStyleLbl="parChTrans1D2" presStyleIdx="1" presStyleCnt="7" custSzX="4289524" custSzY="306613"/>
      <dgm:spPr/>
    </dgm:pt>
    <dgm:pt modelId="{84EB36B9-62D1-4B5C-A597-7F19B7690CBB}" type="pres">
      <dgm:prSet presAssocID="{B6DB7651-7D81-4F5E-A74E-1CE9D132FFA1}" presName="hierRoot2" presStyleCnt="0">
        <dgm:presLayoutVars>
          <dgm:hierBranch val="init"/>
        </dgm:presLayoutVars>
      </dgm:prSet>
      <dgm:spPr/>
    </dgm:pt>
    <dgm:pt modelId="{FF286CB8-4EF0-4920-A52C-FE142401368E}" type="pres">
      <dgm:prSet presAssocID="{B6DB7651-7D81-4F5E-A74E-1CE9D132FFA1}" presName="rootComposite" presStyleCnt="0"/>
      <dgm:spPr/>
    </dgm:pt>
    <dgm:pt modelId="{919252C1-5E8F-4C1E-8B07-9019D6B598DF}" type="pres">
      <dgm:prSet presAssocID="{B6DB7651-7D81-4F5E-A74E-1CE9D132FFA1}" presName="rootText" presStyleLbl="node2" presStyleIdx="1" presStyleCnt="7" custScaleX="224472" custScaleY="263868">
        <dgm:presLayoutVars>
          <dgm:chPref val="3"/>
        </dgm:presLayoutVars>
      </dgm:prSet>
      <dgm:spPr/>
    </dgm:pt>
    <dgm:pt modelId="{B05F8344-AFEA-433E-AB6E-DA6446A9FBE1}" type="pres">
      <dgm:prSet presAssocID="{B6DB7651-7D81-4F5E-A74E-1CE9D132FFA1}" presName="rootConnector" presStyleLbl="node2" presStyleIdx="1" presStyleCnt="7"/>
      <dgm:spPr/>
    </dgm:pt>
    <dgm:pt modelId="{D6EB8568-0C1F-45AB-B966-8E98CC819E16}" type="pres">
      <dgm:prSet presAssocID="{B6DB7651-7D81-4F5E-A74E-1CE9D132FFA1}" presName="hierChild4" presStyleCnt="0"/>
      <dgm:spPr/>
    </dgm:pt>
    <dgm:pt modelId="{B7191E19-DD2A-4BAB-A4A6-36528F9B308C}" type="pres">
      <dgm:prSet presAssocID="{B6DB7651-7D81-4F5E-A74E-1CE9D132FFA1}" presName="hierChild5" presStyleCnt="0"/>
      <dgm:spPr/>
    </dgm:pt>
    <dgm:pt modelId="{766BDE4F-B05F-4DE9-9297-2C646DE2E6AF}" type="pres">
      <dgm:prSet presAssocID="{D3D0C99A-1A2F-48B9-92A7-B5D699B81BB4}" presName="Name37" presStyleLbl="parChTrans1D2" presStyleIdx="2" presStyleCnt="7" custSzX="2573714" custSzY="306613"/>
      <dgm:spPr/>
    </dgm:pt>
    <dgm:pt modelId="{1CBB0A5B-52FA-4FDC-A7F6-04043CF6D315}" type="pres">
      <dgm:prSet presAssocID="{DDAD9549-51AC-4852-8D1F-7853EE254EAB}" presName="hierRoot2" presStyleCnt="0">
        <dgm:presLayoutVars>
          <dgm:hierBranch val="init"/>
        </dgm:presLayoutVars>
      </dgm:prSet>
      <dgm:spPr/>
    </dgm:pt>
    <dgm:pt modelId="{59E27656-95E6-4F48-866C-8989D63D5D9B}" type="pres">
      <dgm:prSet presAssocID="{DDAD9549-51AC-4852-8D1F-7853EE254EAB}" presName="rootComposite" presStyleCnt="0"/>
      <dgm:spPr/>
    </dgm:pt>
    <dgm:pt modelId="{CB31C50E-0282-4D4F-B0CC-4E9722E2149F}" type="pres">
      <dgm:prSet presAssocID="{DDAD9549-51AC-4852-8D1F-7853EE254EAB}" presName="rootText" presStyleLbl="node2" presStyleIdx="2" presStyleCnt="7" custScaleX="224472" custScaleY="263868">
        <dgm:presLayoutVars>
          <dgm:chPref val="3"/>
        </dgm:presLayoutVars>
      </dgm:prSet>
      <dgm:spPr/>
    </dgm:pt>
    <dgm:pt modelId="{5BE1293F-E52E-4364-815E-BA964B2E313E}" type="pres">
      <dgm:prSet presAssocID="{DDAD9549-51AC-4852-8D1F-7853EE254EAB}" presName="rootConnector" presStyleLbl="node2" presStyleIdx="2" presStyleCnt="7"/>
      <dgm:spPr/>
    </dgm:pt>
    <dgm:pt modelId="{4DF886EB-5C4D-4256-BFCD-293C86C11368}" type="pres">
      <dgm:prSet presAssocID="{DDAD9549-51AC-4852-8D1F-7853EE254EAB}" presName="hierChild4" presStyleCnt="0"/>
      <dgm:spPr/>
    </dgm:pt>
    <dgm:pt modelId="{7322A613-0704-460A-A42A-D682B2D8407D}" type="pres">
      <dgm:prSet presAssocID="{DDAD9549-51AC-4852-8D1F-7853EE254EAB}" presName="hierChild5" presStyleCnt="0"/>
      <dgm:spPr/>
    </dgm:pt>
    <dgm:pt modelId="{EBDEDD73-1A0D-448D-87EC-AF798632099F}" type="pres">
      <dgm:prSet presAssocID="{65A34516-2507-40EF-8E38-D5D5269E852E}" presName="Name37" presStyleLbl="parChTrans1D2" presStyleIdx="3" presStyleCnt="7" custSzX="857904" custSzY="306613"/>
      <dgm:spPr/>
    </dgm:pt>
    <dgm:pt modelId="{C82B6449-FC96-4809-891D-3F77115F2A6E}" type="pres">
      <dgm:prSet presAssocID="{3BD6BDA0-26C3-403D-88CB-AA822E74B732}" presName="hierRoot2" presStyleCnt="0">
        <dgm:presLayoutVars>
          <dgm:hierBranch val="init"/>
        </dgm:presLayoutVars>
      </dgm:prSet>
      <dgm:spPr/>
    </dgm:pt>
    <dgm:pt modelId="{D4CF06AD-AC28-4337-8DC4-C77F82AF429A}" type="pres">
      <dgm:prSet presAssocID="{3BD6BDA0-26C3-403D-88CB-AA822E74B732}" presName="rootComposite" presStyleCnt="0"/>
      <dgm:spPr/>
    </dgm:pt>
    <dgm:pt modelId="{609EB9A4-2680-422B-ADA3-4CA28FF595B7}" type="pres">
      <dgm:prSet presAssocID="{3BD6BDA0-26C3-403D-88CB-AA822E74B732}" presName="rootText" presStyleLbl="node2" presStyleIdx="3" presStyleCnt="7" custScaleX="224472" custScaleY="263868">
        <dgm:presLayoutVars>
          <dgm:chPref val="3"/>
        </dgm:presLayoutVars>
      </dgm:prSet>
      <dgm:spPr/>
    </dgm:pt>
    <dgm:pt modelId="{6A578C9B-36DC-47B6-B550-4B2973A0AD3E}" type="pres">
      <dgm:prSet presAssocID="{3BD6BDA0-26C3-403D-88CB-AA822E74B732}" presName="rootConnector" presStyleLbl="node2" presStyleIdx="3" presStyleCnt="7"/>
      <dgm:spPr/>
    </dgm:pt>
    <dgm:pt modelId="{AD9A910C-E527-4DA9-9196-9F0784AF9A03}" type="pres">
      <dgm:prSet presAssocID="{3BD6BDA0-26C3-403D-88CB-AA822E74B732}" presName="hierChild4" presStyleCnt="0"/>
      <dgm:spPr/>
    </dgm:pt>
    <dgm:pt modelId="{CB6FB5E4-D783-4232-B545-77163E1752CE}" type="pres">
      <dgm:prSet presAssocID="{3BD6BDA0-26C3-403D-88CB-AA822E74B732}" presName="hierChild5" presStyleCnt="0"/>
      <dgm:spPr/>
    </dgm:pt>
    <dgm:pt modelId="{E5B64A66-98C3-4BB7-B533-49BBD6320137}" type="pres">
      <dgm:prSet presAssocID="{2C8BBE09-D937-4AF8-B69B-DA9CA12F6B02}" presName="Name37" presStyleLbl="parChTrans1D2" presStyleIdx="4" presStyleCnt="7" custSzX="857904" custSzY="306613"/>
      <dgm:spPr/>
    </dgm:pt>
    <dgm:pt modelId="{C9AC80DA-5C67-471C-A517-09C56065513F}" type="pres">
      <dgm:prSet presAssocID="{356BB6D9-A53C-40AA-9340-A57AFC579674}" presName="hierRoot2" presStyleCnt="0">
        <dgm:presLayoutVars>
          <dgm:hierBranch val="init"/>
        </dgm:presLayoutVars>
      </dgm:prSet>
      <dgm:spPr/>
    </dgm:pt>
    <dgm:pt modelId="{5750CD8B-3CA9-4453-A7EE-8F1E255127A6}" type="pres">
      <dgm:prSet presAssocID="{356BB6D9-A53C-40AA-9340-A57AFC579674}" presName="rootComposite" presStyleCnt="0"/>
      <dgm:spPr/>
    </dgm:pt>
    <dgm:pt modelId="{8A836A0C-FAC7-4158-B0FF-92C12F5D70AB}" type="pres">
      <dgm:prSet presAssocID="{356BB6D9-A53C-40AA-9340-A57AFC579674}" presName="rootText" presStyleLbl="node2" presStyleIdx="4" presStyleCnt="7" custScaleX="224472" custScaleY="263868">
        <dgm:presLayoutVars>
          <dgm:chPref val="3"/>
        </dgm:presLayoutVars>
      </dgm:prSet>
      <dgm:spPr/>
    </dgm:pt>
    <dgm:pt modelId="{A746DBFA-FF7B-450A-9600-1DCEA1D74B2C}" type="pres">
      <dgm:prSet presAssocID="{356BB6D9-A53C-40AA-9340-A57AFC579674}" presName="rootConnector" presStyleLbl="node2" presStyleIdx="4" presStyleCnt="7"/>
      <dgm:spPr/>
    </dgm:pt>
    <dgm:pt modelId="{D6908B42-389D-4B5A-BA13-88E673F4D8AC}" type="pres">
      <dgm:prSet presAssocID="{356BB6D9-A53C-40AA-9340-A57AFC579674}" presName="hierChild4" presStyleCnt="0"/>
      <dgm:spPr/>
    </dgm:pt>
    <dgm:pt modelId="{6FC657D7-A26A-4CF7-8A36-60820E479DED}" type="pres">
      <dgm:prSet presAssocID="{356BB6D9-A53C-40AA-9340-A57AFC579674}" presName="hierChild5" presStyleCnt="0"/>
      <dgm:spPr/>
    </dgm:pt>
    <dgm:pt modelId="{0D5A4952-58DB-4379-A0FF-9CF9AA8B30A9}" type="pres">
      <dgm:prSet presAssocID="{78879A09-8796-42CA-8554-7D4602B98BE0}" presName="Name37" presStyleLbl="parChTrans1D2" presStyleIdx="5" presStyleCnt="7" custSzX="2573714" custSzY="306613"/>
      <dgm:spPr/>
    </dgm:pt>
    <dgm:pt modelId="{D2909641-ED8A-4F63-8E22-D0C2F560868D}" type="pres">
      <dgm:prSet presAssocID="{4CBA4916-03C1-4A6B-AF7E-954DE1AB4700}" presName="hierRoot2" presStyleCnt="0">
        <dgm:presLayoutVars>
          <dgm:hierBranch val="init"/>
        </dgm:presLayoutVars>
      </dgm:prSet>
      <dgm:spPr/>
    </dgm:pt>
    <dgm:pt modelId="{8747B277-287C-4F96-AAF1-71B5A44990BB}" type="pres">
      <dgm:prSet presAssocID="{4CBA4916-03C1-4A6B-AF7E-954DE1AB4700}" presName="rootComposite" presStyleCnt="0"/>
      <dgm:spPr/>
    </dgm:pt>
    <dgm:pt modelId="{6E21471F-70DD-425A-96EB-D138019D0017}" type="pres">
      <dgm:prSet presAssocID="{4CBA4916-03C1-4A6B-AF7E-954DE1AB4700}" presName="rootText" presStyleLbl="node2" presStyleIdx="5" presStyleCnt="7" custScaleX="224472" custScaleY="263868">
        <dgm:presLayoutVars>
          <dgm:chPref val="3"/>
        </dgm:presLayoutVars>
      </dgm:prSet>
      <dgm:spPr/>
    </dgm:pt>
    <dgm:pt modelId="{4434DAB3-9F54-4E34-870E-DE4B9CBDF485}" type="pres">
      <dgm:prSet presAssocID="{4CBA4916-03C1-4A6B-AF7E-954DE1AB4700}" presName="rootConnector" presStyleLbl="node2" presStyleIdx="5" presStyleCnt="7"/>
      <dgm:spPr/>
    </dgm:pt>
    <dgm:pt modelId="{6D49527A-6F9D-48D3-82C3-4CC6BEAC2FC9}" type="pres">
      <dgm:prSet presAssocID="{4CBA4916-03C1-4A6B-AF7E-954DE1AB4700}" presName="hierChild4" presStyleCnt="0"/>
      <dgm:spPr/>
    </dgm:pt>
    <dgm:pt modelId="{25160CDE-B463-4E43-B76B-D9F74A3CA323}" type="pres">
      <dgm:prSet presAssocID="{4CBA4916-03C1-4A6B-AF7E-954DE1AB4700}" presName="hierChild5" presStyleCnt="0"/>
      <dgm:spPr/>
    </dgm:pt>
    <dgm:pt modelId="{7C650D1E-3017-4717-95CC-BB314B759F2C}" type="pres">
      <dgm:prSet presAssocID="{52018A7B-3ADD-46AE-AA01-F8F8C6C7FE96}" presName="Name37" presStyleLbl="parChTrans1D2" presStyleIdx="6" presStyleCnt="7" custSzX="4289524" custSzY="306613"/>
      <dgm:spPr/>
    </dgm:pt>
    <dgm:pt modelId="{4C66E9E1-6C36-4396-934D-67AA4CDE3382}" type="pres">
      <dgm:prSet presAssocID="{C57AEB62-8521-4B3A-8958-87E1270B529D}" presName="hierRoot2" presStyleCnt="0">
        <dgm:presLayoutVars>
          <dgm:hierBranch val="init"/>
        </dgm:presLayoutVars>
      </dgm:prSet>
      <dgm:spPr/>
    </dgm:pt>
    <dgm:pt modelId="{D35D85B9-3FC5-4C6D-B06C-532F87EB7C78}" type="pres">
      <dgm:prSet presAssocID="{C57AEB62-8521-4B3A-8958-87E1270B529D}" presName="rootComposite" presStyleCnt="0"/>
      <dgm:spPr/>
    </dgm:pt>
    <dgm:pt modelId="{09F933FE-904C-41E0-8847-5EE14ADC5F19}" type="pres">
      <dgm:prSet presAssocID="{C57AEB62-8521-4B3A-8958-87E1270B529D}" presName="rootText" presStyleLbl="node2" presStyleIdx="6" presStyleCnt="7" custScaleX="224472" custScaleY="263868">
        <dgm:presLayoutVars>
          <dgm:chPref val="3"/>
        </dgm:presLayoutVars>
      </dgm:prSet>
      <dgm:spPr/>
    </dgm:pt>
    <dgm:pt modelId="{019907A6-8841-40DF-BD59-2AE933C6AF50}" type="pres">
      <dgm:prSet presAssocID="{C57AEB62-8521-4B3A-8958-87E1270B529D}" presName="rootConnector" presStyleLbl="node2" presStyleIdx="6" presStyleCnt="7"/>
      <dgm:spPr/>
    </dgm:pt>
    <dgm:pt modelId="{8C029093-EDCE-41EE-BBC1-026AF27C95C6}" type="pres">
      <dgm:prSet presAssocID="{C57AEB62-8521-4B3A-8958-87E1270B529D}" presName="hierChild4" presStyleCnt="0"/>
      <dgm:spPr/>
    </dgm:pt>
    <dgm:pt modelId="{E452553B-C85A-4293-B98D-38AFFA531F0C}" type="pres">
      <dgm:prSet presAssocID="{C57AEB62-8521-4B3A-8958-87E1270B529D}" presName="hierChild5" presStyleCnt="0"/>
      <dgm:spPr/>
    </dgm:pt>
    <dgm:pt modelId="{393210D2-D629-4CE1-A3A4-675C9384F18A}" type="pres">
      <dgm:prSet presAssocID="{3A6AA12D-C2E9-4BD8-BD2C-3FE7294AFEB9}" presName="hierChild3" presStyleCnt="0"/>
      <dgm:spPr/>
    </dgm:pt>
  </dgm:ptLst>
  <dgm:cxnLst>
    <dgm:cxn modelId="{A3C2930D-A995-4A13-B150-06E24AD2829B}" type="presOf" srcId="{DDAD9549-51AC-4852-8D1F-7853EE254EAB}" destId="{CB31C50E-0282-4D4F-B0CC-4E9722E2149F}" srcOrd="0" destOrd="0" presId="urn:microsoft.com/office/officeart/2005/8/layout/orgChart1"/>
    <dgm:cxn modelId="{B4E7DB18-52DD-4DFE-8AFF-C229CF58B7D7}" type="presOf" srcId="{4CBA4916-03C1-4A6B-AF7E-954DE1AB4700}" destId="{4434DAB3-9F54-4E34-870E-DE4B9CBDF485}" srcOrd="1" destOrd="0" presId="urn:microsoft.com/office/officeart/2005/8/layout/orgChart1"/>
    <dgm:cxn modelId="{9D023827-73D4-4F3E-86D4-86A7255FA673}" type="presOf" srcId="{356BB6D9-A53C-40AA-9340-A57AFC579674}" destId="{8A836A0C-FAC7-4158-B0FF-92C12F5D70AB}" srcOrd="0" destOrd="0" presId="urn:microsoft.com/office/officeart/2005/8/layout/orgChart1"/>
    <dgm:cxn modelId="{4A065327-F67C-478E-8018-E87F817897E3}" type="presOf" srcId="{65A34516-2507-40EF-8E38-D5D5269E852E}" destId="{EBDEDD73-1A0D-448D-87EC-AF798632099F}" srcOrd="0" destOrd="0" presId="urn:microsoft.com/office/officeart/2005/8/layout/orgChart1"/>
    <dgm:cxn modelId="{D107082D-E6FB-42C2-9C79-D42AED2ACB64}" type="presOf" srcId="{52018A7B-3ADD-46AE-AA01-F8F8C6C7FE96}" destId="{7C650D1E-3017-4717-95CC-BB314B759F2C}" srcOrd="0" destOrd="0" presId="urn:microsoft.com/office/officeart/2005/8/layout/orgChart1"/>
    <dgm:cxn modelId="{E184953C-0694-4CD0-8632-E1BD3BAD7A6B}" type="presOf" srcId="{DDAD9549-51AC-4852-8D1F-7853EE254EAB}" destId="{5BE1293F-E52E-4364-815E-BA964B2E313E}" srcOrd="1" destOrd="0" presId="urn:microsoft.com/office/officeart/2005/8/layout/orgChart1"/>
    <dgm:cxn modelId="{F032C83C-2CDE-4DF1-A8DC-B85E12986189}" type="presOf" srcId="{3A6AA12D-C2E9-4BD8-BD2C-3FE7294AFEB9}" destId="{3DD70376-3E3F-43E1-B2C6-956970C172ED}" srcOrd="0" destOrd="0" presId="urn:microsoft.com/office/officeart/2005/8/layout/orgChart1"/>
    <dgm:cxn modelId="{9FC21D5B-06BC-49E5-8C4E-F480E835FE0A}" srcId="{3A6AA12D-C2E9-4BD8-BD2C-3FE7294AFEB9}" destId="{3BD6BDA0-26C3-403D-88CB-AA822E74B732}" srcOrd="3" destOrd="0" parTransId="{65A34516-2507-40EF-8E38-D5D5269E852E}" sibTransId="{875E4EA7-E344-4050-AAC7-9D78DAA4E1B4}"/>
    <dgm:cxn modelId="{2A57BB48-EEA3-4D82-82C5-A5CCD73690B9}" type="presOf" srcId="{4CBA4916-03C1-4A6B-AF7E-954DE1AB4700}" destId="{6E21471F-70DD-425A-96EB-D138019D0017}" srcOrd="0" destOrd="0" presId="urn:microsoft.com/office/officeart/2005/8/layout/orgChart1"/>
    <dgm:cxn modelId="{06EAE96A-939C-4E13-8405-E08EE8AA498F}" type="presOf" srcId="{9FB97EE0-DCD5-4156-8D38-FCFF580D44FD}" destId="{2D7AE81F-8C7C-4CA7-9284-3B78B04D4886}" srcOrd="1" destOrd="0" presId="urn:microsoft.com/office/officeart/2005/8/layout/orgChart1"/>
    <dgm:cxn modelId="{DF6C7C4B-810F-4B4F-8577-277D98D6FA11}" srcId="{3A6AA12D-C2E9-4BD8-BD2C-3FE7294AFEB9}" destId="{9FB97EE0-DCD5-4156-8D38-FCFF580D44FD}" srcOrd="0" destOrd="0" parTransId="{FF1888FE-33B9-4643-AE7A-09A40E256103}" sibTransId="{58FFF5EC-3E90-4DDD-A670-28424277750F}"/>
    <dgm:cxn modelId="{D8D3036D-63BE-483E-B0AF-FD04F63D2A49}" type="presOf" srcId="{3A6AA12D-C2E9-4BD8-BD2C-3FE7294AFEB9}" destId="{9AB5A911-E489-48AE-B687-7440697238B3}" srcOrd="1" destOrd="0" presId="urn:microsoft.com/office/officeart/2005/8/layout/orgChart1"/>
    <dgm:cxn modelId="{1D6C916D-396B-4F46-8DBA-7510D0EB5C8F}" srcId="{3A6AA12D-C2E9-4BD8-BD2C-3FE7294AFEB9}" destId="{C57AEB62-8521-4B3A-8958-87E1270B529D}" srcOrd="6" destOrd="0" parTransId="{52018A7B-3ADD-46AE-AA01-F8F8C6C7FE96}" sibTransId="{29608A20-D110-42A1-9C64-14C0B62390F1}"/>
    <dgm:cxn modelId="{7D163A4F-193A-4940-A8BA-4CE1BE9E84D8}" type="presOf" srcId="{FF1888FE-33B9-4643-AE7A-09A40E256103}" destId="{1F1BF832-7D6F-4314-8A20-B77ADD6E09FD}" srcOrd="0" destOrd="0" presId="urn:microsoft.com/office/officeart/2005/8/layout/orgChart1"/>
    <dgm:cxn modelId="{35F84B56-B58F-42F6-8D42-4E794C0A3AEE}" type="presOf" srcId="{3BD6BDA0-26C3-403D-88CB-AA822E74B732}" destId="{609EB9A4-2680-422B-ADA3-4CA28FF595B7}" srcOrd="0" destOrd="0" presId="urn:microsoft.com/office/officeart/2005/8/layout/orgChart1"/>
    <dgm:cxn modelId="{E5C03097-8C23-405D-8CB3-ED598E296DC3}" srcId="{3A6AA12D-C2E9-4BD8-BD2C-3FE7294AFEB9}" destId="{4CBA4916-03C1-4A6B-AF7E-954DE1AB4700}" srcOrd="5" destOrd="0" parTransId="{78879A09-8796-42CA-8554-7D4602B98BE0}" sibTransId="{D1522DCD-FAB1-4478-862F-3D1E39FDE66C}"/>
    <dgm:cxn modelId="{DFEFC1A0-1FC4-4E95-B9C9-0F449C95655C}" type="presOf" srcId="{D3D0C99A-1A2F-48B9-92A7-B5D699B81BB4}" destId="{766BDE4F-B05F-4DE9-9297-2C646DE2E6AF}" srcOrd="0" destOrd="0" presId="urn:microsoft.com/office/officeart/2005/8/layout/orgChart1"/>
    <dgm:cxn modelId="{64AF36A2-FAAE-4A6F-8408-0DAA70EF67D3}" srcId="{D0A0F61B-4303-4677-84F2-61B7E1A91C18}" destId="{3A6AA12D-C2E9-4BD8-BD2C-3FE7294AFEB9}" srcOrd="0" destOrd="0" parTransId="{CB68BD35-2E0D-48E5-8A70-3DF166BD3AE0}" sibTransId="{279954E4-66B2-4DF1-BBD5-CB4E7B281C1D}"/>
    <dgm:cxn modelId="{B7DD91A3-CCE7-4CB4-B37C-53FDDC6BA836}" type="presOf" srcId="{2C8BBE09-D937-4AF8-B69B-DA9CA12F6B02}" destId="{E5B64A66-98C3-4BB7-B533-49BBD6320137}" srcOrd="0" destOrd="0" presId="urn:microsoft.com/office/officeart/2005/8/layout/orgChart1"/>
    <dgm:cxn modelId="{66931EAC-E36B-4C7E-B667-75F915330C0D}" srcId="{3A6AA12D-C2E9-4BD8-BD2C-3FE7294AFEB9}" destId="{DDAD9549-51AC-4852-8D1F-7853EE254EAB}" srcOrd="2" destOrd="0" parTransId="{D3D0C99A-1A2F-48B9-92A7-B5D699B81BB4}" sibTransId="{4D69A56D-7A7B-4814-81BC-D8408374810F}"/>
    <dgm:cxn modelId="{11A413AD-5B67-4931-87CE-EF433FEA3739}" srcId="{3A6AA12D-C2E9-4BD8-BD2C-3FE7294AFEB9}" destId="{356BB6D9-A53C-40AA-9340-A57AFC579674}" srcOrd="4" destOrd="0" parTransId="{2C8BBE09-D937-4AF8-B69B-DA9CA12F6B02}" sibTransId="{2321DCB6-A69E-4DF4-BE16-88C5FCCE48DC}"/>
    <dgm:cxn modelId="{FE45CBAE-DE70-44B0-8572-50F540EE3538}" type="presOf" srcId="{C57AEB62-8521-4B3A-8958-87E1270B529D}" destId="{09F933FE-904C-41E0-8847-5EE14ADC5F19}" srcOrd="0" destOrd="0" presId="urn:microsoft.com/office/officeart/2005/8/layout/orgChart1"/>
    <dgm:cxn modelId="{A464E7B9-0D77-4D52-BEF7-9D604FF3DC08}" type="presOf" srcId="{9FB97EE0-DCD5-4156-8D38-FCFF580D44FD}" destId="{BCA0F817-645B-4DF6-B98A-68FC4A66FB72}" srcOrd="0" destOrd="0" presId="urn:microsoft.com/office/officeart/2005/8/layout/orgChart1"/>
    <dgm:cxn modelId="{D4EFCBBC-F070-4F79-A9F1-362C22BB94FE}" type="presOf" srcId="{B6DB7651-7D81-4F5E-A74E-1CE9D132FFA1}" destId="{919252C1-5E8F-4C1E-8B07-9019D6B598DF}" srcOrd="0" destOrd="0" presId="urn:microsoft.com/office/officeart/2005/8/layout/orgChart1"/>
    <dgm:cxn modelId="{28AD6DC2-7F70-4CF1-BE69-A0B726F63C93}" type="presOf" srcId="{B6DB7651-7D81-4F5E-A74E-1CE9D132FFA1}" destId="{B05F8344-AFEA-433E-AB6E-DA6446A9FBE1}" srcOrd="1" destOrd="0" presId="urn:microsoft.com/office/officeart/2005/8/layout/orgChart1"/>
    <dgm:cxn modelId="{408FDCD7-6D9B-4919-8D87-FEE836EC6689}" type="presOf" srcId="{3BD6BDA0-26C3-403D-88CB-AA822E74B732}" destId="{6A578C9B-36DC-47B6-B550-4B2973A0AD3E}" srcOrd="1" destOrd="0" presId="urn:microsoft.com/office/officeart/2005/8/layout/orgChart1"/>
    <dgm:cxn modelId="{4A4D75DE-8916-4725-9070-945E3EED449F}" type="presOf" srcId="{62C9F470-4316-48F8-8263-FB85C0AF66D0}" destId="{C18E588E-D810-43F6-B8D0-371D7DDA551F}" srcOrd="0" destOrd="0" presId="urn:microsoft.com/office/officeart/2005/8/layout/orgChart1"/>
    <dgm:cxn modelId="{D6DD01DF-9AA7-4FCC-9B56-5694F179575B}" type="presOf" srcId="{356BB6D9-A53C-40AA-9340-A57AFC579674}" destId="{A746DBFA-FF7B-450A-9600-1DCEA1D74B2C}" srcOrd="1" destOrd="0" presId="urn:microsoft.com/office/officeart/2005/8/layout/orgChart1"/>
    <dgm:cxn modelId="{6A986DE3-EA29-42DA-9DE5-1787A7CE0A8D}" type="presOf" srcId="{C57AEB62-8521-4B3A-8958-87E1270B529D}" destId="{019907A6-8841-40DF-BD59-2AE933C6AF50}" srcOrd="1" destOrd="0" presId="urn:microsoft.com/office/officeart/2005/8/layout/orgChart1"/>
    <dgm:cxn modelId="{B62A91E6-1B1E-4C73-880C-82235C311D16}" type="presOf" srcId="{D0A0F61B-4303-4677-84F2-61B7E1A91C18}" destId="{CB5D569C-B44B-4308-B27F-633455E5871F}" srcOrd="0" destOrd="0" presId="urn:microsoft.com/office/officeart/2005/8/layout/orgChart1"/>
    <dgm:cxn modelId="{D8771FEA-5C29-4C98-9410-A0D7FBC06628}" type="presOf" srcId="{78879A09-8796-42CA-8554-7D4602B98BE0}" destId="{0D5A4952-58DB-4379-A0FF-9CF9AA8B30A9}" srcOrd="0" destOrd="0" presId="urn:microsoft.com/office/officeart/2005/8/layout/orgChart1"/>
    <dgm:cxn modelId="{41CA94F0-5A8E-4ACB-8F43-2EE3CFC41C3F}" srcId="{3A6AA12D-C2E9-4BD8-BD2C-3FE7294AFEB9}" destId="{B6DB7651-7D81-4F5E-A74E-1CE9D132FFA1}" srcOrd="1" destOrd="0" parTransId="{62C9F470-4316-48F8-8263-FB85C0AF66D0}" sibTransId="{DB3F6F20-C891-487A-A115-B4C419FAC740}"/>
    <dgm:cxn modelId="{29057BAA-5C17-4DE3-9C01-9B8EEED7853B}" type="presParOf" srcId="{CB5D569C-B44B-4308-B27F-633455E5871F}" destId="{AB795A0E-3C7B-47E3-BC47-3534A54F9190}" srcOrd="0" destOrd="0" presId="urn:microsoft.com/office/officeart/2005/8/layout/orgChart1"/>
    <dgm:cxn modelId="{C071476A-4F93-452C-84C5-CEDF2FDC26FF}" type="presParOf" srcId="{AB795A0E-3C7B-47E3-BC47-3534A54F9190}" destId="{6AEEC0CB-D732-40ED-98C7-E88C954633C1}" srcOrd="0" destOrd="0" presId="urn:microsoft.com/office/officeart/2005/8/layout/orgChart1"/>
    <dgm:cxn modelId="{11A92872-9377-4006-B8FD-92DA524FCEE7}" type="presParOf" srcId="{6AEEC0CB-D732-40ED-98C7-E88C954633C1}" destId="{3DD70376-3E3F-43E1-B2C6-956970C172ED}" srcOrd="0" destOrd="0" presId="urn:microsoft.com/office/officeart/2005/8/layout/orgChart1"/>
    <dgm:cxn modelId="{91B5E2C8-7E72-4421-8A35-E14AC12CF3EC}" type="presParOf" srcId="{6AEEC0CB-D732-40ED-98C7-E88C954633C1}" destId="{9AB5A911-E489-48AE-B687-7440697238B3}" srcOrd="1" destOrd="0" presId="urn:microsoft.com/office/officeart/2005/8/layout/orgChart1"/>
    <dgm:cxn modelId="{C5F08D8F-789B-4E80-A953-2ED5DEC31E22}" type="presParOf" srcId="{AB795A0E-3C7B-47E3-BC47-3534A54F9190}" destId="{E404BA80-6E0F-4C3E-BC06-4E7117DCF3CE}" srcOrd="1" destOrd="0" presId="urn:microsoft.com/office/officeart/2005/8/layout/orgChart1"/>
    <dgm:cxn modelId="{6B52E496-B737-438F-A448-92E267587A43}" type="presParOf" srcId="{E404BA80-6E0F-4C3E-BC06-4E7117DCF3CE}" destId="{1F1BF832-7D6F-4314-8A20-B77ADD6E09FD}" srcOrd="0" destOrd="0" presId="urn:microsoft.com/office/officeart/2005/8/layout/orgChart1"/>
    <dgm:cxn modelId="{DF652E7C-B1F4-4BA6-BFA7-831FDB1A5BDD}" type="presParOf" srcId="{E404BA80-6E0F-4C3E-BC06-4E7117DCF3CE}" destId="{338F5E53-0455-48EE-ABDF-BFB85DD1E3B8}" srcOrd="1" destOrd="0" presId="urn:microsoft.com/office/officeart/2005/8/layout/orgChart1"/>
    <dgm:cxn modelId="{EB88FCCF-D344-4887-A84B-6FD3AAD27261}" type="presParOf" srcId="{338F5E53-0455-48EE-ABDF-BFB85DD1E3B8}" destId="{3AFE5463-745F-4692-AF4E-CB50EC31BE95}" srcOrd="0" destOrd="0" presId="urn:microsoft.com/office/officeart/2005/8/layout/orgChart1"/>
    <dgm:cxn modelId="{AABC9751-8E32-4104-B8FA-496731470BCC}" type="presParOf" srcId="{3AFE5463-745F-4692-AF4E-CB50EC31BE95}" destId="{BCA0F817-645B-4DF6-B98A-68FC4A66FB72}" srcOrd="0" destOrd="0" presId="urn:microsoft.com/office/officeart/2005/8/layout/orgChart1"/>
    <dgm:cxn modelId="{557A0A2D-732F-4AD9-8689-4042F6FF663D}" type="presParOf" srcId="{3AFE5463-745F-4692-AF4E-CB50EC31BE95}" destId="{2D7AE81F-8C7C-4CA7-9284-3B78B04D4886}" srcOrd="1" destOrd="0" presId="urn:microsoft.com/office/officeart/2005/8/layout/orgChart1"/>
    <dgm:cxn modelId="{3E9C56F5-87AD-4451-8A60-DE19E58F1CC1}" type="presParOf" srcId="{338F5E53-0455-48EE-ABDF-BFB85DD1E3B8}" destId="{57B634ED-9877-4988-A910-1E72805200C1}" srcOrd="1" destOrd="0" presId="urn:microsoft.com/office/officeart/2005/8/layout/orgChart1"/>
    <dgm:cxn modelId="{92845914-1825-46B9-8693-EDA94F8DAA46}" type="presParOf" srcId="{338F5E53-0455-48EE-ABDF-BFB85DD1E3B8}" destId="{33976D44-C62D-46BD-99B9-28ACEAC7D476}" srcOrd="2" destOrd="0" presId="urn:microsoft.com/office/officeart/2005/8/layout/orgChart1"/>
    <dgm:cxn modelId="{6FC688F4-DA59-404B-82C2-93352CA80F1D}" type="presParOf" srcId="{E404BA80-6E0F-4C3E-BC06-4E7117DCF3CE}" destId="{C18E588E-D810-43F6-B8D0-371D7DDA551F}" srcOrd="2" destOrd="0" presId="urn:microsoft.com/office/officeart/2005/8/layout/orgChart1"/>
    <dgm:cxn modelId="{F9DA5115-2867-4260-8456-2D42F0F43FE6}" type="presParOf" srcId="{E404BA80-6E0F-4C3E-BC06-4E7117DCF3CE}" destId="{84EB36B9-62D1-4B5C-A597-7F19B7690CBB}" srcOrd="3" destOrd="0" presId="urn:microsoft.com/office/officeart/2005/8/layout/orgChart1"/>
    <dgm:cxn modelId="{3E6B6D14-C6B1-4C5C-BD39-573E8A8B9E05}" type="presParOf" srcId="{84EB36B9-62D1-4B5C-A597-7F19B7690CBB}" destId="{FF286CB8-4EF0-4920-A52C-FE142401368E}" srcOrd="0" destOrd="0" presId="urn:microsoft.com/office/officeart/2005/8/layout/orgChart1"/>
    <dgm:cxn modelId="{31A182DD-6D2A-4A12-8C47-956FA0DCB4E1}" type="presParOf" srcId="{FF286CB8-4EF0-4920-A52C-FE142401368E}" destId="{919252C1-5E8F-4C1E-8B07-9019D6B598DF}" srcOrd="0" destOrd="0" presId="urn:microsoft.com/office/officeart/2005/8/layout/orgChart1"/>
    <dgm:cxn modelId="{C2B74B97-2AE3-4A4E-90CB-CB83D81F4791}" type="presParOf" srcId="{FF286CB8-4EF0-4920-A52C-FE142401368E}" destId="{B05F8344-AFEA-433E-AB6E-DA6446A9FBE1}" srcOrd="1" destOrd="0" presId="urn:microsoft.com/office/officeart/2005/8/layout/orgChart1"/>
    <dgm:cxn modelId="{F5D335B5-B479-4E14-921B-AAE19D972589}" type="presParOf" srcId="{84EB36B9-62D1-4B5C-A597-7F19B7690CBB}" destId="{D6EB8568-0C1F-45AB-B966-8E98CC819E16}" srcOrd="1" destOrd="0" presId="urn:microsoft.com/office/officeart/2005/8/layout/orgChart1"/>
    <dgm:cxn modelId="{850463DC-01D9-4C3B-AA4E-789EA866B1ED}" type="presParOf" srcId="{84EB36B9-62D1-4B5C-A597-7F19B7690CBB}" destId="{B7191E19-DD2A-4BAB-A4A6-36528F9B308C}" srcOrd="2" destOrd="0" presId="urn:microsoft.com/office/officeart/2005/8/layout/orgChart1"/>
    <dgm:cxn modelId="{6935BBB6-629E-4BC9-A59C-6F66DF7DBDF5}" type="presParOf" srcId="{E404BA80-6E0F-4C3E-BC06-4E7117DCF3CE}" destId="{766BDE4F-B05F-4DE9-9297-2C646DE2E6AF}" srcOrd="4" destOrd="0" presId="urn:microsoft.com/office/officeart/2005/8/layout/orgChart1"/>
    <dgm:cxn modelId="{C907E441-1B42-406F-B9AA-A926EF6CF8E7}" type="presParOf" srcId="{E404BA80-6E0F-4C3E-BC06-4E7117DCF3CE}" destId="{1CBB0A5B-52FA-4FDC-A7F6-04043CF6D315}" srcOrd="5" destOrd="0" presId="urn:microsoft.com/office/officeart/2005/8/layout/orgChart1"/>
    <dgm:cxn modelId="{9E33E51E-D96A-43C8-9668-93F102F6850F}" type="presParOf" srcId="{1CBB0A5B-52FA-4FDC-A7F6-04043CF6D315}" destId="{59E27656-95E6-4F48-866C-8989D63D5D9B}" srcOrd="0" destOrd="0" presId="urn:microsoft.com/office/officeart/2005/8/layout/orgChart1"/>
    <dgm:cxn modelId="{EB9FA229-154A-4237-8874-8193BD77356C}" type="presParOf" srcId="{59E27656-95E6-4F48-866C-8989D63D5D9B}" destId="{CB31C50E-0282-4D4F-B0CC-4E9722E2149F}" srcOrd="0" destOrd="0" presId="urn:microsoft.com/office/officeart/2005/8/layout/orgChart1"/>
    <dgm:cxn modelId="{EA36CBFE-0902-4C45-BFE5-A5AA52682529}" type="presParOf" srcId="{59E27656-95E6-4F48-866C-8989D63D5D9B}" destId="{5BE1293F-E52E-4364-815E-BA964B2E313E}" srcOrd="1" destOrd="0" presId="urn:microsoft.com/office/officeart/2005/8/layout/orgChart1"/>
    <dgm:cxn modelId="{B78C26ED-8C00-4DBF-A657-4C51C8C8D354}" type="presParOf" srcId="{1CBB0A5B-52FA-4FDC-A7F6-04043CF6D315}" destId="{4DF886EB-5C4D-4256-BFCD-293C86C11368}" srcOrd="1" destOrd="0" presId="urn:microsoft.com/office/officeart/2005/8/layout/orgChart1"/>
    <dgm:cxn modelId="{2F32B33E-83F7-4C42-A5E2-1BECA668C468}" type="presParOf" srcId="{1CBB0A5B-52FA-4FDC-A7F6-04043CF6D315}" destId="{7322A613-0704-460A-A42A-D682B2D8407D}" srcOrd="2" destOrd="0" presId="urn:microsoft.com/office/officeart/2005/8/layout/orgChart1"/>
    <dgm:cxn modelId="{B5E89264-3B83-4C7C-8693-DE619F9601E8}" type="presParOf" srcId="{E404BA80-6E0F-4C3E-BC06-4E7117DCF3CE}" destId="{EBDEDD73-1A0D-448D-87EC-AF798632099F}" srcOrd="6" destOrd="0" presId="urn:microsoft.com/office/officeart/2005/8/layout/orgChart1"/>
    <dgm:cxn modelId="{8A220EB8-8CAD-41CA-A070-7080B8223DA0}" type="presParOf" srcId="{E404BA80-6E0F-4C3E-BC06-4E7117DCF3CE}" destId="{C82B6449-FC96-4809-891D-3F77115F2A6E}" srcOrd="7" destOrd="0" presId="urn:microsoft.com/office/officeart/2005/8/layout/orgChart1"/>
    <dgm:cxn modelId="{18C5BD65-3C20-4BAA-B544-FDBC08E6973E}" type="presParOf" srcId="{C82B6449-FC96-4809-891D-3F77115F2A6E}" destId="{D4CF06AD-AC28-4337-8DC4-C77F82AF429A}" srcOrd="0" destOrd="0" presId="urn:microsoft.com/office/officeart/2005/8/layout/orgChart1"/>
    <dgm:cxn modelId="{7371F6D0-E394-47B9-AA15-BC400041C169}" type="presParOf" srcId="{D4CF06AD-AC28-4337-8DC4-C77F82AF429A}" destId="{609EB9A4-2680-422B-ADA3-4CA28FF595B7}" srcOrd="0" destOrd="0" presId="urn:microsoft.com/office/officeart/2005/8/layout/orgChart1"/>
    <dgm:cxn modelId="{4F8F640D-899F-458F-B9B6-FDBB74BF4352}" type="presParOf" srcId="{D4CF06AD-AC28-4337-8DC4-C77F82AF429A}" destId="{6A578C9B-36DC-47B6-B550-4B2973A0AD3E}" srcOrd="1" destOrd="0" presId="urn:microsoft.com/office/officeart/2005/8/layout/orgChart1"/>
    <dgm:cxn modelId="{698B292B-E260-40FA-9473-3E10F23CF7FD}" type="presParOf" srcId="{C82B6449-FC96-4809-891D-3F77115F2A6E}" destId="{AD9A910C-E527-4DA9-9196-9F0784AF9A03}" srcOrd="1" destOrd="0" presId="urn:microsoft.com/office/officeart/2005/8/layout/orgChart1"/>
    <dgm:cxn modelId="{838710EE-17E7-4CCB-99EA-7BD674627B5E}" type="presParOf" srcId="{C82B6449-FC96-4809-891D-3F77115F2A6E}" destId="{CB6FB5E4-D783-4232-B545-77163E1752CE}" srcOrd="2" destOrd="0" presId="urn:microsoft.com/office/officeart/2005/8/layout/orgChart1"/>
    <dgm:cxn modelId="{2F4CEABC-468E-45F7-B92F-C380C9893CE0}" type="presParOf" srcId="{E404BA80-6E0F-4C3E-BC06-4E7117DCF3CE}" destId="{E5B64A66-98C3-4BB7-B533-49BBD6320137}" srcOrd="8" destOrd="0" presId="urn:microsoft.com/office/officeart/2005/8/layout/orgChart1"/>
    <dgm:cxn modelId="{EB2F7685-3280-49D4-AA09-58AAE1F084E4}" type="presParOf" srcId="{E404BA80-6E0F-4C3E-BC06-4E7117DCF3CE}" destId="{C9AC80DA-5C67-471C-A517-09C56065513F}" srcOrd="9" destOrd="0" presId="urn:microsoft.com/office/officeart/2005/8/layout/orgChart1"/>
    <dgm:cxn modelId="{F4A2FE12-3F4D-4843-821D-F9DEB91D8BF0}" type="presParOf" srcId="{C9AC80DA-5C67-471C-A517-09C56065513F}" destId="{5750CD8B-3CA9-4453-A7EE-8F1E255127A6}" srcOrd="0" destOrd="0" presId="urn:microsoft.com/office/officeart/2005/8/layout/orgChart1"/>
    <dgm:cxn modelId="{AD079B31-DA43-46EE-B418-336CE2230B04}" type="presParOf" srcId="{5750CD8B-3CA9-4453-A7EE-8F1E255127A6}" destId="{8A836A0C-FAC7-4158-B0FF-92C12F5D70AB}" srcOrd="0" destOrd="0" presId="urn:microsoft.com/office/officeart/2005/8/layout/orgChart1"/>
    <dgm:cxn modelId="{0AF843CA-2DA0-416C-8AA9-6F8CC1D5D13E}" type="presParOf" srcId="{5750CD8B-3CA9-4453-A7EE-8F1E255127A6}" destId="{A746DBFA-FF7B-450A-9600-1DCEA1D74B2C}" srcOrd="1" destOrd="0" presId="urn:microsoft.com/office/officeart/2005/8/layout/orgChart1"/>
    <dgm:cxn modelId="{1561FB6D-80EB-44CF-82B8-9072CB60A1FA}" type="presParOf" srcId="{C9AC80DA-5C67-471C-A517-09C56065513F}" destId="{D6908B42-389D-4B5A-BA13-88E673F4D8AC}" srcOrd="1" destOrd="0" presId="urn:microsoft.com/office/officeart/2005/8/layout/orgChart1"/>
    <dgm:cxn modelId="{496E5F59-6298-43B6-8166-78249A6D221C}" type="presParOf" srcId="{C9AC80DA-5C67-471C-A517-09C56065513F}" destId="{6FC657D7-A26A-4CF7-8A36-60820E479DED}" srcOrd="2" destOrd="0" presId="urn:microsoft.com/office/officeart/2005/8/layout/orgChart1"/>
    <dgm:cxn modelId="{AB4EC589-91DF-499A-99A6-E83137963056}" type="presParOf" srcId="{E404BA80-6E0F-4C3E-BC06-4E7117DCF3CE}" destId="{0D5A4952-58DB-4379-A0FF-9CF9AA8B30A9}" srcOrd="10" destOrd="0" presId="urn:microsoft.com/office/officeart/2005/8/layout/orgChart1"/>
    <dgm:cxn modelId="{E349D361-169E-438F-A7B2-248483B91DB5}" type="presParOf" srcId="{E404BA80-6E0F-4C3E-BC06-4E7117DCF3CE}" destId="{D2909641-ED8A-4F63-8E22-D0C2F560868D}" srcOrd="11" destOrd="0" presId="urn:microsoft.com/office/officeart/2005/8/layout/orgChart1"/>
    <dgm:cxn modelId="{78E7B13E-8B62-4C15-8545-E4C8D4F17074}" type="presParOf" srcId="{D2909641-ED8A-4F63-8E22-D0C2F560868D}" destId="{8747B277-287C-4F96-AAF1-71B5A44990BB}" srcOrd="0" destOrd="0" presId="urn:microsoft.com/office/officeart/2005/8/layout/orgChart1"/>
    <dgm:cxn modelId="{3F9300D6-2600-47B1-B155-326327E6D84B}" type="presParOf" srcId="{8747B277-287C-4F96-AAF1-71B5A44990BB}" destId="{6E21471F-70DD-425A-96EB-D138019D0017}" srcOrd="0" destOrd="0" presId="urn:microsoft.com/office/officeart/2005/8/layout/orgChart1"/>
    <dgm:cxn modelId="{891E012C-14F3-4EE8-8B88-FBBE39ABC9C8}" type="presParOf" srcId="{8747B277-287C-4F96-AAF1-71B5A44990BB}" destId="{4434DAB3-9F54-4E34-870E-DE4B9CBDF485}" srcOrd="1" destOrd="0" presId="urn:microsoft.com/office/officeart/2005/8/layout/orgChart1"/>
    <dgm:cxn modelId="{3BDE28C2-114C-4EB1-9D33-A2CE2E72044A}" type="presParOf" srcId="{D2909641-ED8A-4F63-8E22-D0C2F560868D}" destId="{6D49527A-6F9D-48D3-82C3-4CC6BEAC2FC9}" srcOrd="1" destOrd="0" presId="urn:microsoft.com/office/officeart/2005/8/layout/orgChart1"/>
    <dgm:cxn modelId="{C4532B28-B427-458A-B237-805304BA93E4}" type="presParOf" srcId="{D2909641-ED8A-4F63-8E22-D0C2F560868D}" destId="{25160CDE-B463-4E43-B76B-D9F74A3CA323}" srcOrd="2" destOrd="0" presId="urn:microsoft.com/office/officeart/2005/8/layout/orgChart1"/>
    <dgm:cxn modelId="{901A7285-A767-4579-9A82-EFD51C9E4802}" type="presParOf" srcId="{E404BA80-6E0F-4C3E-BC06-4E7117DCF3CE}" destId="{7C650D1E-3017-4717-95CC-BB314B759F2C}" srcOrd="12" destOrd="0" presId="urn:microsoft.com/office/officeart/2005/8/layout/orgChart1"/>
    <dgm:cxn modelId="{871B8F69-7AEC-455D-AB5A-F3E1F8BF1527}" type="presParOf" srcId="{E404BA80-6E0F-4C3E-BC06-4E7117DCF3CE}" destId="{4C66E9E1-6C36-4396-934D-67AA4CDE3382}" srcOrd="13" destOrd="0" presId="urn:microsoft.com/office/officeart/2005/8/layout/orgChart1"/>
    <dgm:cxn modelId="{4B758311-419C-4D4C-B2DD-A194CAC1D97D}" type="presParOf" srcId="{4C66E9E1-6C36-4396-934D-67AA4CDE3382}" destId="{D35D85B9-3FC5-4C6D-B06C-532F87EB7C78}" srcOrd="0" destOrd="0" presId="urn:microsoft.com/office/officeart/2005/8/layout/orgChart1"/>
    <dgm:cxn modelId="{5BAD28E7-0187-404B-BB9C-698BCDF6482B}" type="presParOf" srcId="{D35D85B9-3FC5-4C6D-B06C-532F87EB7C78}" destId="{09F933FE-904C-41E0-8847-5EE14ADC5F19}" srcOrd="0" destOrd="0" presId="urn:microsoft.com/office/officeart/2005/8/layout/orgChart1"/>
    <dgm:cxn modelId="{899A1936-2B12-4688-82C4-87D0B0A8A069}" type="presParOf" srcId="{D35D85B9-3FC5-4C6D-B06C-532F87EB7C78}" destId="{019907A6-8841-40DF-BD59-2AE933C6AF50}" srcOrd="1" destOrd="0" presId="urn:microsoft.com/office/officeart/2005/8/layout/orgChart1"/>
    <dgm:cxn modelId="{BAC37B21-89FD-4C41-8E10-1538BBF7620D}" type="presParOf" srcId="{4C66E9E1-6C36-4396-934D-67AA4CDE3382}" destId="{8C029093-EDCE-41EE-BBC1-026AF27C95C6}" srcOrd="1" destOrd="0" presId="urn:microsoft.com/office/officeart/2005/8/layout/orgChart1"/>
    <dgm:cxn modelId="{A29601C7-872C-405F-AC37-6103E52D8808}" type="presParOf" srcId="{4C66E9E1-6C36-4396-934D-67AA4CDE3382}" destId="{E452553B-C85A-4293-B98D-38AFFA531F0C}" srcOrd="2" destOrd="0" presId="urn:microsoft.com/office/officeart/2005/8/layout/orgChart1"/>
    <dgm:cxn modelId="{0D55C80E-8C62-48F3-97AA-07336229F4B9}" type="presParOf" srcId="{AB795A0E-3C7B-47E3-BC47-3534A54F9190}" destId="{393210D2-D629-4CE1-A3A4-675C9384F18A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D0A0F61B-4303-4677-84F2-61B7E1A91C18}" type="doc">
      <dgm:prSet loTypeId="urn:microsoft.com/office/officeart/2005/8/layout/orgChart1" loCatId="hierarchy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3A6AA12D-C2E9-4BD8-BD2C-3FE7294AFEB9}">
      <dgm:prSet custT="1"/>
      <dgm:spPr/>
      <dgm:t>
        <a:bodyPr/>
        <a:lstStyle/>
        <a:p>
          <a:r>
            <a:rPr lang="de-DE" sz="1000"/>
            <a:t>Attribute</a:t>
          </a:r>
        </a:p>
      </dgm:t>
    </dgm:pt>
    <dgm:pt modelId="{CB68BD35-2E0D-48E5-8A70-3DF166BD3AE0}" type="parTrans" cxnId="{64AF36A2-FAAE-4A6F-8408-0DAA70EF67D3}">
      <dgm:prSet/>
      <dgm:spPr/>
      <dgm:t>
        <a:bodyPr/>
        <a:lstStyle/>
        <a:p>
          <a:endParaRPr lang="de-DE"/>
        </a:p>
      </dgm:t>
    </dgm:pt>
    <dgm:pt modelId="{279954E4-66B2-4DF1-BBD5-CB4E7B281C1D}" type="sibTrans" cxnId="{64AF36A2-FAAE-4A6F-8408-0DAA70EF67D3}">
      <dgm:prSet/>
      <dgm:spPr/>
      <dgm:t>
        <a:bodyPr/>
        <a:lstStyle/>
        <a:p>
          <a:endParaRPr lang="de-DE"/>
        </a:p>
      </dgm:t>
    </dgm:pt>
    <dgm:pt modelId="{9FB97EE0-DCD5-4156-8D38-FCFF580D44FD}">
      <dgm:prSet custT="1"/>
      <dgm:spPr/>
      <dgm:t>
        <a:bodyPr/>
        <a:lstStyle/>
        <a:p>
          <a:r>
            <a:rPr lang="de-DE" sz="1000" dirty="0"/>
            <a:t>Verein</a:t>
          </a:r>
        </a:p>
      </dgm:t>
    </dgm:pt>
    <dgm:pt modelId="{FF1888FE-33B9-4643-AE7A-09A40E256103}" type="parTrans" cxnId="{DF6C7C4B-810F-4B4F-8577-277D98D6FA11}">
      <dgm:prSet/>
      <dgm:spPr/>
      <dgm:t>
        <a:bodyPr/>
        <a:lstStyle/>
        <a:p>
          <a:endParaRPr lang="de-DE" sz="1000"/>
        </a:p>
      </dgm:t>
    </dgm:pt>
    <dgm:pt modelId="{58FFF5EC-3E90-4DDD-A670-28424277750F}" type="sibTrans" cxnId="{DF6C7C4B-810F-4B4F-8577-277D98D6FA11}">
      <dgm:prSet/>
      <dgm:spPr/>
      <dgm:t>
        <a:bodyPr/>
        <a:lstStyle/>
        <a:p>
          <a:endParaRPr lang="de-DE"/>
        </a:p>
      </dgm:t>
    </dgm:pt>
    <dgm:pt modelId="{B6DB7651-7D81-4F5E-A74E-1CE9D132FFA1}">
      <dgm:prSet custT="1"/>
      <dgm:spPr/>
      <dgm:t>
        <a:bodyPr/>
        <a:lstStyle/>
        <a:p>
          <a:r>
            <a:rPr lang="de-DE" sz="1000" dirty="0"/>
            <a:t>Durchschnittsalter der Zugänge</a:t>
          </a:r>
        </a:p>
      </dgm:t>
    </dgm:pt>
    <dgm:pt modelId="{62C9F470-4316-48F8-8263-FB85C0AF66D0}" type="parTrans" cxnId="{41CA94F0-5A8E-4ACB-8F43-2EE3CFC41C3F}">
      <dgm:prSet/>
      <dgm:spPr/>
      <dgm:t>
        <a:bodyPr/>
        <a:lstStyle/>
        <a:p>
          <a:endParaRPr lang="de-DE" sz="1000"/>
        </a:p>
      </dgm:t>
    </dgm:pt>
    <dgm:pt modelId="{DB3F6F20-C891-487A-A115-B4C419FAC740}" type="sibTrans" cxnId="{41CA94F0-5A8E-4ACB-8F43-2EE3CFC41C3F}">
      <dgm:prSet/>
      <dgm:spPr/>
      <dgm:t>
        <a:bodyPr/>
        <a:lstStyle/>
        <a:p>
          <a:endParaRPr lang="de-DE"/>
        </a:p>
      </dgm:t>
    </dgm:pt>
    <dgm:pt modelId="{DDAD9549-51AC-4852-8D1F-7853EE254EAB}">
      <dgm:prSet custT="1"/>
      <dgm:spPr/>
      <dgm:t>
        <a:bodyPr/>
        <a:lstStyle/>
        <a:p>
          <a:r>
            <a:rPr lang="de-DE" sz="1000" dirty="0"/>
            <a:t>Durchschnittsalter der Abgänge</a:t>
          </a:r>
        </a:p>
      </dgm:t>
    </dgm:pt>
    <dgm:pt modelId="{D3D0C99A-1A2F-48B9-92A7-B5D699B81BB4}" type="parTrans" cxnId="{66931EAC-E36B-4C7E-B667-75F915330C0D}">
      <dgm:prSet/>
      <dgm:spPr/>
      <dgm:t>
        <a:bodyPr/>
        <a:lstStyle/>
        <a:p>
          <a:endParaRPr lang="de-DE" sz="1000"/>
        </a:p>
      </dgm:t>
    </dgm:pt>
    <dgm:pt modelId="{4D69A56D-7A7B-4814-81BC-D8408374810F}" type="sibTrans" cxnId="{66931EAC-E36B-4C7E-B667-75F915330C0D}">
      <dgm:prSet/>
      <dgm:spPr/>
      <dgm:t>
        <a:bodyPr/>
        <a:lstStyle/>
        <a:p>
          <a:endParaRPr lang="de-DE"/>
        </a:p>
      </dgm:t>
    </dgm:pt>
    <dgm:pt modelId="{3BD6BDA0-26C3-403D-88CB-AA822E74B732}">
      <dgm:prSet custT="1"/>
      <dgm:spPr/>
      <dgm:t>
        <a:bodyPr/>
        <a:lstStyle/>
        <a:p>
          <a:r>
            <a:rPr lang="de-DE" sz="1000" dirty="0"/>
            <a:t>Gesamtmarktwert der Zugänge in Mio.</a:t>
          </a:r>
        </a:p>
      </dgm:t>
    </dgm:pt>
    <dgm:pt modelId="{65A34516-2507-40EF-8E38-D5D5269E852E}" type="parTrans" cxnId="{9FC21D5B-06BC-49E5-8C4E-F480E835FE0A}">
      <dgm:prSet/>
      <dgm:spPr/>
      <dgm:t>
        <a:bodyPr/>
        <a:lstStyle/>
        <a:p>
          <a:endParaRPr lang="de-DE" sz="1000"/>
        </a:p>
      </dgm:t>
    </dgm:pt>
    <dgm:pt modelId="{875E4EA7-E344-4050-AAC7-9D78DAA4E1B4}" type="sibTrans" cxnId="{9FC21D5B-06BC-49E5-8C4E-F480E835FE0A}">
      <dgm:prSet/>
      <dgm:spPr/>
      <dgm:t>
        <a:bodyPr/>
        <a:lstStyle/>
        <a:p>
          <a:endParaRPr lang="de-DE"/>
        </a:p>
      </dgm:t>
    </dgm:pt>
    <dgm:pt modelId="{356BB6D9-A53C-40AA-9340-A57AFC579674}">
      <dgm:prSet custT="1"/>
      <dgm:spPr/>
      <dgm:t>
        <a:bodyPr/>
        <a:lstStyle/>
        <a:p>
          <a:r>
            <a:rPr lang="de-DE" sz="1000" dirty="0"/>
            <a:t>Gesamtmarktwert der Abgänge in Mio.</a:t>
          </a:r>
        </a:p>
      </dgm:t>
    </dgm:pt>
    <dgm:pt modelId="{2C8BBE09-D937-4AF8-B69B-DA9CA12F6B02}" type="parTrans" cxnId="{11A413AD-5B67-4931-87CE-EF433FEA3739}">
      <dgm:prSet/>
      <dgm:spPr/>
      <dgm:t>
        <a:bodyPr/>
        <a:lstStyle/>
        <a:p>
          <a:endParaRPr lang="de-DE" sz="1000"/>
        </a:p>
      </dgm:t>
    </dgm:pt>
    <dgm:pt modelId="{2321DCB6-A69E-4DF4-BE16-88C5FCCE48DC}" type="sibTrans" cxnId="{11A413AD-5B67-4931-87CE-EF433FEA3739}">
      <dgm:prSet/>
      <dgm:spPr/>
      <dgm:t>
        <a:bodyPr/>
        <a:lstStyle/>
        <a:p>
          <a:endParaRPr lang="de-DE"/>
        </a:p>
      </dgm:t>
    </dgm:pt>
    <dgm:pt modelId="{4CBA4916-03C1-4A6B-AF7E-954DE1AB4700}">
      <dgm:prSet custT="1"/>
      <dgm:spPr/>
      <dgm:t>
        <a:bodyPr/>
        <a:lstStyle/>
        <a:p>
          <a:r>
            <a:rPr lang="de-DE" sz="1000" dirty="0"/>
            <a:t>Ausgaben durch Zugänge in Mio.</a:t>
          </a:r>
        </a:p>
      </dgm:t>
    </dgm:pt>
    <dgm:pt modelId="{78879A09-8796-42CA-8554-7D4602B98BE0}" type="parTrans" cxnId="{E5C03097-8C23-405D-8CB3-ED598E296DC3}">
      <dgm:prSet/>
      <dgm:spPr/>
      <dgm:t>
        <a:bodyPr/>
        <a:lstStyle/>
        <a:p>
          <a:endParaRPr lang="de-DE" sz="1000"/>
        </a:p>
      </dgm:t>
    </dgm:pt>
    <dgm:pt modelId="{D1522DCD-FAB1-4478-862F-3D1E39FDE66C}" type="sibTrans" cxnId="{E5C03097-8C23-405D-8CB3-ED598E296DC3}">
      <dgm:prSet/>
      <dgm:spPr/>
      <dgm:t>
        <a:bodyPr/>
        <a:lstStyle/>
        <a:p>
          <a:endParaRPr lang="de-DE"/>
        </a:p>
      </dgm:t>
    </dgm:pt>
    <dgm:pt modelId="{C57AEB62-8521-4B3A-8958-87E1270B529D}">
      <dgm:prSet custT="1"/>
      <dgm:spPr/>
      <dgm:t>
        <a:bodyPr/>
        <a:lstStyle/>
        <a:p>
          <a:r>
            <a:rPr lang="de-DE" sz="1000" dirty="0"/>
            <a:t>Einnahmen durch Abgänge in Mio.</a:t>
          </a:r>
        </a:p>
      </dgm:t>
    </dgm:pt>
    <dgm:pt modelId="{52018A7B-3ADD-46AE-AA01-F8F8C6C7FE96}" type="parTrans" cxnId="{1D6C916D-396B-4F46-8DBA-7510D0EB5C8F}">
      <dgm:prSet/>
      <dgm:spPr/>
      <dgm:t>
        <a:bodyPr/>
        <a:lstStyle/>
        <a:p>
          <a:endParaRPr lang="de-DE" sz="1000"/>
        </a:p>
      </dgm:t>
    </dgm:pt>
    <dgm:pt modelId="{29608A20-D110-42A1-9C64-14C0B62390F1}" type="sibTrans" cxnId="{1D6C916D-396B-4F46-8DBA-7510D0EB5C8F}">
      <dgm:prSet/>
      <dgm:spPr/>
      <dgm:t>
        <a:bodyPr/>
        <a:lstStyle/>
        <a:p>
          <a:endParaRPr lang="de-DE"/>
        </a:p>
      </dgm:t>
    </dgm:pt>
    <dgm:pt modelId="{CB5D569C-B44B-4308-B27F-633455E5871F}" type="pres">
      <dgm:prSet presAssocID="{D0A0F61B-4303-4677-84F2-61B7E1A91C18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AB795A0E-3C7B-47E3-BC47-3534A54F9190}" type="pres">
      <dgm:prSet presAssocID="{3A6AA12D-C2E9-4BD8-BD2C-3FE7294AFEB9}" presName="hierRoot1" presStyleCnt="0">
        <dgm:presLayoutVars>
          <dgm:hierBranch val="init"/>
        </dgm:presLayoutVars>
      </dgm:prSet>
      <dgm:spPr/>
    </dgm:pt>
    <dgm:pt modelId="{6AEEC0CB-D732-40ED-98C7-E88C954633C1}" type="pres">
      <dgm:prSet presAssocID="{3A6AA12D-C2E9-4BD8-BD2C-3FE7294AFEB9}" presName="rootComposite1" presStyleCnt="0"/>
      <dgm:spPr/>
    </dgm:pt>
    <dgm:pt modelId="{3DD70376-3E3F-43E1-B2C6-956970C172ED}" type="pres">
      <dgm:prSet presAssocID="{3A6AA12D-C2E9-4BD8-BD2C-3FE7294AFEB9}" presName="rootText1" presStyleLbl="node0" presStyleIdx="0" presStyleCnt="1" custScaleX="224472" custScaleY="263868" custLinFactNeighborY="-64180">
        <dgm:presLayoutVars>
          <dgm:chPref val="3"/>
        </dgm:presLayoutVars>
      </dgm:prSet>
      <dgm:spPr/>
    </dgm:pt>
    <dgm:pt modelId="{9AB5A911-E489-48AE-B687-7440697238B3}" type="pres">
      <dgm:prSet presAssocID="{3A6AA12D-C2E9-4BD8-BD2C-3FE7294AFEB9}" presName="rootConnector1" presStyleLbl="node1" presStyleIdx="0" presStyleCnt="0"/>
      <dgm:spPr/>
    </dgm:pt>
    <dgm:pt modelId="{E404BA80-6E0F-4C3E-BC06-4E7117DCF3CE}" type="pres">
      <dgm:prSet presAssocID="{3A6AA12D-C2E9-4BD8-BD2C-3FE7294AFEB9}" presName="hierChild2" presStyleCnt="0"/>
      <dgm:spPr/>
    </dgm:pt>
    <dgm:pt modelId="{1F1BF832-7D6F-4314-8A20-B77ADD6E09FD}" type="pres">
      <dgm:prSet presAssocID="{FF1888FE-33B9-4643-AE7A-09A40E256103}" presName="Name37" presStyleLbl="parChTrans1D2" presStyleIdx="0" presStyleCnt="7" custSzX="6005334" custSzY="306613"/>
      <dgm:spPr/>
    </dgm:pt>
    <dgm:pt modelId="{338F5E53-0455-48EE-ABDF-BFB85DD1E3B8}" type="pres">
      <dgm:prSet presAssocID="{9FB97EE0-DCD5-4156-8D38-FCFF580D44FD}" presName="hierRoot2" presStyleCnt="0">
        <dgm:presLayoutVars>
          <dgm:hierBranch val="init"/>
        </dgm:presLayoutVars>
      </dgm:prSet>
      <dgm:spPr/>
    </dgm:pt>
    <dgm:pt modelId="{3AFE5463-745F-4692-AF4E-CB50EC31BE95}" type="pres">
      <dgm:prSet presAssocID="{9FB97EE0-DCD5-4156-8D38-FCFF580D44FD}" presName="rootComposite" presStyleCnt="0"/>
      <dgm:spPr/>
    </dgm:pt>
    <dgm:pt modelId="{BCA0F817-645B-4DF6-B98A-68FC4A66FB72}" type="pres">
      <dgm:prSet presAssocID="{9FB97EE0-DCD5-4156-8D38-FCFF580D44FD}" presName="rootText" presStyleLbl="node2" presStyleIdx="0" presStyleCnt="7" custScaleX="224472" custScaleY="263868">
        <dgm:presLayoutVars>
          <dgm:chPref val="3"/>
        </dgm:presLayoutVars>
      </dgm:prSet>
      <dgm:spPr/>
    </dgm:pt>
    <dgm:pt modelId="{2D7AE81F-8C7C-4CA7-9284-3B78B04D4886}" type="pres">
      <dgm:prSet presAssocID="{9FB97EE0-DCD5-4156-8D38-FCFF580D44FD}" presName="rootConnector" presStyleLbl="node2" presStyleIdx="0" presStyleCnt="7"/>
      <dgm:spPr/>
    </dgm:pt>
    <dgm:pt modelId="{57B634ED-9877-4988-A910-1E72805200C1}" type="pres">
      <dgm:prSet presAssocID="{9FB97EE0-DCD5-4156-8D38-FCFF580D44FD}" presName="hierChild4" presStyleCnt="0"/>
      <dgm:spPr/>
    </dgm:pt>
    <dgm:pt modelId="{33976D44-C62D-46BD-99B9-28ACEAC7D476}" type="pres">
      <dgm:prSet presAssocID="{9FB97EE0-DCD5-4156-8D38-FCFF580D44FD}" presName="hierChild5" presStyleCnt="0"/>
      <dgm:spPr/>
    </dgm:pt>
    <dgm:pt modelId="{C18E588E-D810-43F6-B8D0-371D7DDA551F}" type="pres">
      <dgm:prSet presAssocID="{62C9F470-4316-48F8-8263-FB85C0AF66D0}" presName="Name37" presStyleLbl="parChTrans1D2" presStyleIdx="1" presStyleCnt="7" custSzX="4289524" custSzY="306613"/>
      <dgm:spPr/>
    </dgm:pt>
    <dgm:pt modelId="{84EB36B9-62D1-4B5C-A597-7F19B7690CBB}" type="pres">
      <dgm:prSet presAssocID="{B6DB7651-7D81-4F5E-A74E-1CE9D132FFA1}" presName="hierRoot2" presStyleCnt="0">
        <dgm:presLayoutVars>
          <dgm:hierBranch val="init"/>
        </dgm:presLayoutVars>
      </dgm:prSet>
      <dgm:spPr/>
    </dgm:pt>
    <dgm:pt modelId="{FF286CB8-4EF0-4920-A52C-FE142401368E}" type="pres">
      <dgm:prSet presAssocID="{B6DB7651-7D81-4F5E-A74E-1CE9D132FFA1}" presName="rootComposite" presStyleCnt="0"/>
      <dgm:spPr/>
    </dgm:pt>
    <dgm:pt modelId="{919252C1-5E8F-4C1E-8B07-9019D6B598DF}" type="pres">
      <dgm:prSet presAssocID="{B6DB7651-7D81-4F5E-A74E-1CE9D132FFA1}" presName="rootText" presStyleLbl="node2" presStyleIdx="1" presStyleCnt="7" custScaleX="224472" custScaleY="263868">
        <dgm:presLayoutVars>
          <dgm:chPref val="3"/>
        </dgm:presLayoutVars>
      </dgm:prSet>
      <dgm:spPr/>
    </dgm:pt>
    <dgm:pt modelId="{B05F8344-AFEA-433E-AB6E-DA6446A9FBE1}" type="pres">
      <dgm:prSet presAssocID="{B6DB7651-7D81-4F5E-A74E-1CE9D132FFA1}" presName="rootConnector" presStyleLbl="node2" presStyleIdx="1" presStyleCnt="7"/>
      <dgm:spPr/>
    </dgm:pt>
    <dgm:pt modelId="{D6EB8568-0C1F-45AB-B966-8E98CC819E16}" type="pres">
      <dgm:prSet presAssocID="{B6DB7651-7D81-4F5E-A74E-1CE9D132FFA1}" presName="hierChild4" presStyleCnt="0"/>
      <dgm:spPr/>
    </dgm:pt>
    <dgm:pt modelId="{B7191E19-DD2A-4BAB-A4A6-36528F9B308C}" type="pres">
      <dgm:prSet presAssocID="{B6DB7651-7D81-4F5E-A74E-1CE9D132FFA1}" presName="hierChild5" presStyleCnt="0"/>
      <dgm:spPr/>
    </dgm:pt>
    <dgm:pt modelId="{766BDE4F-B05F-4DE9-9297-2C646DE2E6AF}" type="pres">
      <dgm:prSet presAssocID="{D3D0C99A-1A2F-48B9-92A7-B5D699B81BB4}" presName="Name37" presStyleLbl="parChTrans1D2" presStyleIdx="2" presStyleCnt="7" custSzX="2573714" custSzY="306613"/>
      <dgm:spPr/>
    </dgm:pt>
    <dgm:pt modelId="{1CBB0A5B-52FA-4FDC-A7F6-04043CF6D315}" type="pres">
      <dgm:prSet presAssocID="{DDAD9549-51AC-4852-8D1F-7853EE254EAB}" presName="hierRoot2" presStyleCnt="0">
        <dgm:presLayoutVars>
          <dgm:hierBranch val="init"/>
        </dgm:presLayoutVars>
      </dgm:prSet>
      <dgm:spPr/>
    </dgm:pt>
    <dgm:pt modelId="{59E27656-95E6-4F48-866C-8989D63D5D9B}" type="pres">
      <dgm:prSet presAssocID="{DDAD9549-51AC-4852-8D1F-7853EE254EAB}" presName="rootComposite" presStyleCnt="0"/>
      <dgm:spPr/>
    </dgm:pt>
    <dgm:pt modelId="{CB31C50E-0282-4D4F-B0CC-4E9722E2149F}" type="pres">
      <dgm:prSet presAssocID="{DDAD9549-51AC-4852-8D1F-7853EE254EAB}" presName="rootText" presStyleLbl="node2" presStyleIdx="2" presStyleCnt="7" custScaleX="224472" custScaleY="263868">
        <dgm:presLayoutVars>
          <dgm:chPref val="3"/>
        </dgm:presLayoutVars>
      </dgm:prSet>
      <dgm:spPr/>
    </dgm:pt>
    <dgm:pt modelId="{5BE1293F-E52E-4364-815E-BA964B2E313E}" type="pres">
      <dgm:prSet presAssocID="{DDAD9549-51AC-4852-8D1F-7853EE254EAB}" presName="rootConnector" presStyleLbl="node2" presStyleIdx="2" presStyleCnt="7"/>
      <dgm:spPr/>
    </dgm:pt>
    <dgm:pt modelId="{4DF886EB-5C4D-4256-BFCD-293C86C11368}" type="pres">
      <dgm:prSet presAssocID="{DDAD9549-51AC-4852-8D1F-7853EE254EAB}" presName="hierChild4" presStyleCnt="0"/>
      <dgm:spPr/>
    </dgm:pt>
    <dgm:pt modelId="{7322A613-0704-460A-A42A-D682B2D8407D}" type="pres">
      <dgm:prSet presAssocID="{DDAD9549-51AC-4852-8D1F-7853EE254EAB}" presName="hierChild5" presStyleCnt="0"/>
      <dgm:spPr/>
    </dgm:pt>
    <dgm:pt modelId="{EBDEDD73-1A0D-448D-87EC-AF798632099F}" type="pres">
      <dgm:prSet presAssocID="{65A34516-2507-40EF-8E38-D5D5269E852E}" presName="Name37" presStyleLbl="parChTrans1D2" presStyleIdx="3" presStyleCnt="7" custSzX="857904" custSzY="306613"/>
      <dgm:spPr/>
    </dgm:pt>
    <dgm:pt modelId="{C82B6449-FC96-4809-891D-3F77115F2A6E}" type="pres">
      <dgm:prSet presAssocID="{3BD6BDA0-26C3-403D-88CB-AA822E74B732}" presName="hierRoot2" presStyleCnt="0">
        <dgm:presLayoutVars>
          <dgm:hierBranch val="init"/>
        </dgm:presLayoutVars>
      </dgm:prSet>
      <dgm:spPr/>
    </dgm:pt>
    <dgm:pt modelId="{D4CF06AD-AC28-4337-8DC4-C77F82AF429A}" type="pres">
      <dgm:prSet presAssocID="{3BD6BDA0-26C3-403D-88CB-AA822E74B732}" presName="rootComposite" presStyleCnt="0"/>
      <dgm:spPr/>
    </dgm:pt>
    <dgm:pt modelId="{609EB9A4-2680-422B-ADA3-4CA28FF595B7}" type="pres">
      <dgm:prSet presAssocID="{3BD6BDA0-26C3-403D-88CB-AA822E74B732}" presName="rootText" presStyleLbl="node2" presStyleIdx="3" presStyleCnt="7" custScaleX="224472" custScaleY="263868">
        <dgm:presLayoutVars>
          <dgm:chPref val="3"/>
        </dgm:presLayoutVars>
      </dgm:prSet>
      <dgm:spPr/>
    </dgm:pt>
    <dgm:pt modelId="{6A578C9B-36DC-47B6-B550-4B2973A0AD3E}" type="pres">
      <dgm:prSet presAssocID="{3BD6BDA0-26C3-403D-88CB-AA822E74B732}" presName="rootConnector" presStyleLbl="node2" presStyleIdx="3" presStyleCnt="7"/>
      <dgm:spPr/>
    </dgm:pt>
    <dgm:pt modelId="{AD9A910C-E527-4DA9-9196-9F0784AF9A03}" type="pres">
      <dgm:prSet presAssocID="{3BD6BDA0-26C3-403D-88CB-AA822E74B732}" presName="hierChild4" presStyleCnt="0"/>
      <dgm:spPr/>
    </dgm:pt>
    <dgm:pt modelId="{CB6FB5E4-D783-4232-B545-77163E1752CE}" type="pres">
      <dgm:prSet presAssocID="{3BD6BDA0-26C3-403D-88CB-AA822E74B732}" presName="hierChild5" presStyleCnt="0"/>
      <dgm:spPr/>
    </dgm:pt>
    <dgm:pt modelId="{E5B64A66-98C3-4BB7-B533-49BBD6320137}" type="pres">
      <dgm:prSet presAssocID="{2C8BBE09-D937-4AF8-B69B-DA9CA12F6B02}" presName="Name37" presStyleLbl="parChTrans1D2" presStyleIdx="4" presStyleCnt="7" custSzX="857904" custSzY="306613"/>
      <dgm:spPr/>
    </dgm:pt>
    <dgm:pt modelId="{C9AC80DA-5C67-471C-A517-09C56065513F}" type="pres">
      <dgm:prSet presAssocID="{356BB6D9-A53C-40AA-9340-A57AFC579674}" presName="hierRoot2" presStyleCnt="0">
        <dgm:presLayoutVars>
          <dgm:hierBranch val="init"/>
        </dgm:presLayoutVars>
      </dgm:prSet>
      <dgm:spPr/>
    </dgm:pt>
    <dgm:pt modelId="{5750CD8B-3CA9-4453-A7EE-8F1E255127A6}" type="pres">
      <dgm:prSet presAssocID="{356BB6D9-A53C-40AA-9340-A57AFC579674}" presName="rootComposite" presStyleCnt="0"/>
      <dgm:spPr/>
    </dgm:pt>
    <dgm:pt modelId="{8A836A0C-FAC7-4158-B0FF-92C12F5D70AB}" type="pres">
      <dgm:prSet presAssocID="{356BB6D9-A53C-40AA-9340-A57AFC579674}" presName="rootText" presStyleLbl="node2" presStyleIdx="4" presStyleCnt="7" custScaleX="224472" custScaleY="263868">
        <dgm:presLayoutVars>
          <dgm:chPref val="3"/>
        </dgm:presLayoutVars>
      </dgm:prSet>
      <dgm:spPr/>
    </dgm:pt>
    <dgm:pt modelId="{A746DBFA-FF7B-450A-9600-1DCEA1D74B2C}" type="pres">
      <dgm:prSet presAssocID="{356BB6D9-A53C-40AA-9340-A57AFC579674}" presName="rootConnector" presStyleLbl="node2" presStyleIdx="4" presStyleCnt="7"/>
      <dgm:spPr/>
    </dgm:pt>
    <dgm:pt modelId="{D6908B42-389D-4B5A-BA13-88E673F4D8AC}" type="pres">
      <dgm:prSet presAssocID="{356BB6D9-A53C-40AA-9340-A57AFC579674}" presName="hierChild4" presStyleCnt="0"/>
      <dgm:spPr/>
    </dgm:pt>
    <dgm:pt modelId="{6FC657D7-A26A-4CF7-8A36-60820E479DED}" type="pres">
      <dgm:prSet presAssocID="{356BB6D9-A53C-40AA-9340-A57AFC579674}" presName="hierChild5" presStyleCnt="0"/>
      <dgm:spPr/>
    </dgm:pt>
    <dgm:pt modelId="{0D5A4952-58DB-4379-A0FF-9CF9AA8B30A9}" type="pres">
      <dgm:prSet presAssocID="{78879A09-8796-42CA-8554-7D4602B98BE0}" presName="Name37" presStyleLbl="parChTrans1D2" presStyleIdx="5" presStyleCnt="7" custSzX="2573714" custSzY="306613"/>
      <dgm:spPr/>
    </dgm:pt>
    <dgm:pt modelId="{D2909641-ED8A-4F63-8E22-D0C2F560868D}" type="pres">
      <dgm:prSet presAssocID="{4CBA4916-03C1-4A6B-AF7E-954DE1AB4700}" presName="hierRoot2" presStyleCnt="0">
        <dgm:presLayoutVars>
          <dgm:hierBranch val="init"/>
        </dgm:presLayoutVars>
      </dgm:prSet>
      <dgm:spPr/>
    </dgm:pt>
    <dgm:pt modelId="{8747B277-287C-4F96-AAF1-71B5A44990BB}" type="pres">
      <dgm:prSet presAssocID="{4CBA4916-03C1-4A6B-AF7E-954DE1AB4700}" presName="rootComposite" presStyleCnt="0"/>
      <dgm:spPr/>
    </dgm:pt>
    <dgm:pt modelId="{6E21471F-70DD-425A-96EB-D138019D0017}" type="pres">
      <dgm:prSet presAssocID="{4CBA4916-03C1-4A6B-AF7E-954DE1AB4700}" presName="rootText" presStyleLbl="node2" presStyleIdx="5" presStyleCnt="7" custScaleX="224472" custScaleY="263868">
        <dgm:presLayoutVars>
          <dgm:chPref val="3"/>
        </dgm:presLayoutVars>
      </dgm:prSet>
      <dgm:spPr/>
    </dgm:pt>
    <dgm:pt modelId="{4434DAB3-9F54-4E34-870E-DE4B9CBDF485}" type="pres">
      <dgm:prSet presAssocID="{4CBA4916-03C1-4A6B-AF7E-954DE1AB4700}" presName="rootConnector" presStyleLbl="node2" presStyleIdx="5" presStyleCnt="7"/>
      <dgm:spPr/>
    </dgm:pt>
    <dgm:pt modelId="{6D49527A-6F9D-48D3-82C3-4CC6BEAC2FC9}" type="pres">
      <dgm:prSet presAssocID="{4CBA4916-03C1-4A6B-AF7E-954DE1AB4700}" presName="hierChild4" presStyleCnt="0"/>
      <dgm:spPr/>
    </dgm:pt>
    <dgm:pt modelId="{25160CDE-B463-4E43-B76B-D9F74A3CA323}" type="pres">
      <dgm:prSet presAssocID="{4CBA4916-03C1-4A6B-AF7E-954DE1AB4700}" presName="hierChild5" presStyleCnt="0"/>
      <dgm:spPr/>
    </dgm:pt>
    <dgm:pt modelId="{7C650D1E-3017-4717-95CC-BB314B759F2C}" type="pres">
      <dgm:prSet presAssocID="{52018A7B-3ADD-46AE-AA01-F8F8C6C7FE96}" presName="Name37" presStyleLbl="parChTrans1D2" presStyleIdx="6" presStyleCnt="7" custSzX="4289524" custSzY="306613"/>
      <dgm:spPr/>
    </dgm:pt>
    <dgm:pt modelId="{4C66E9E1-6C36-4396-934D-67AA4CDE3382}" type="pres">
      <dgm:prSet presAssocID="{C57AEB62-8521-4B3A-8958-87E1270B529D}" presName="hierRoot2" presStyleCnt="0">
        <dgm:presLayoutVars>
          <dgm:hierBranch val="init"/>
        </dgm:presLayoutVars>
      </dgm:prSet>
      <dgm:spPr/>
    </dgm:pt>
    <dgm:pt modelId="{D35D85B9-3FC5-4C6D-B06C-532F87EB7C78}" type="pres">
      <dgm:prSet presAssocID="{C57AEB62-8521-4B3A-8958-87E1270B529D}" presName="rootComposite" presStyleCnt="0"/>
      <dgm:spPr/>
    </dgm:pt>
    <dgm:pt modelId="{09F933FE-904C-41E0-8847-5EE14ADC5F19}" type="pres">
      <dgm:prSet presAssocID="{C57AEB62-8521-4B3A-8958-87E1270B529D}" presName="rootText" presStyleLbl="node2" presStyleIdx="6" presStyleCnt="7" custScaleX="224472" custScaleY="263868">
        <dgm:presLayoutVars>
          <dgm:chPref val="3"/>
        </dgm:presLayoutVars>
      </dgm:prSet>
      <dgm:spPr/>
    </dgm:pt>
    <dgm:pt modelId="{019907A6-8841-40DF-BD59-2AE933C6AF50}" type="pres">
      <dgm:prSet presAssocID="{C57AEB62-8521-4B3A-8958-87E1270B529D}" presName="rootConnector" presStyleLbl="node2" presStyleIdx="6" presStyleCnt="7"/>
      <dgm:spPr/>
    </dgm:pt>
    <dgm:pt modelId="{8C029093-EDCE-41EE-BBC1-026AF27C95C6}" type="pres">
      <dgm:prSet presAssocID="{C57AEB62-8521-4B3A-8958-87E1270B529D}" presName="hierChild4" presStyleCnt="0"/>
      <dgm:spPr/>
    </dgm:pt>
    <dgm:pt modelId="{E452553B-C85A-4293-B98D-38AFFA531F0C}" type="pres">
      <dgm:prSet presAssocID="{C57AEB62-8521-4B3A-8958-87E1270B529D}" presName="hierChild5" presStyleCnt="0"/>
      <dgm:spPr/>
    </dgm:pt>
    <dgm:pt modelId="{393210D2-D629-4CE1-A3A4-675C9384F18A}" type="pres">
      <dgm:prSet presAssocID="{3A6AA12D-C2E9-4BD8-BD2C-3FE7294AFEB9}" presName="hierChild3" presStyleCnt="0"/>
      <dgm:spPr/>
    </dgm:pt>
  </dgm:ptLst>
  <dgm:cxnLst>
    <dgm:cxn modelId="{A3C2930D-A995-4A13-B150-06E24AD2829B}" type="presOf" srcId="{DDAD9549-51AC-4852-8D1F-7853EE254EAB}" destId="{CB31C50E-0282-4D4F-B0CC-4E9722E2149F}" srcOrd="0" destOrd="0" presId="urn:microsoft.com/office/officeart/2005/8/layout/orgChart1"/>
    <dgm:cxn modelId="{B4E7DB18-52DD-4DFE-8AFF-C229CF58B7D7}" type="presOf" srcId="{4CBA4916-03C1-4A6B-AF7E-954DE1AB4700}" destId="{4434DAB3-9F54-4E34-870E-DE4B9CBDF485}" srcOrd="1" destOrd="0" presId="urn:microsoft.com/office/officeart/2005/8/layout/orgChart1"/>
    <dgm:cxn modelId="{9D023827-73D4-4F3E-86D4-86A7255FA673}" type="presOf" srcId="{356BB6D9-A53C-40AA-9340-A57AFC579674}" destId="{8A836A0C-FAC7-4158-B0FF-92C12F5D70AB}" srcOrd="0" destOrd="0" presId="urn:microsoft.com/office/officeart/2005/8/layout/orgChart1"/>
    <dgm:cxn modelId="{4A065327-F67C-478E-8018-E87F817897E3}" type="presOf" srcId="{65A34516-2507-40EF-8E38-D5D5269E852E}" destId="{EBDEDD73-1A0D-448D-87EC-AF798632099F}" srcOrd="0" destOrd="0" presId="urn:microsoft.com/office/officeart/2005/8/layout/orgChart1"/>
    <dgm:cxn modelId="{D107082D-E6FB-42C2-9C79-D42AED2ACB64}" type="presOf" srcId="{52018A7B-3ADD-46AE-AA01-F8F8C6C7FE96}" destId="{7C650D1E-3017-4717-95CC-BB314B759F2C}" srcOrd="0" destOrd="0" presId="urn:microsoft.com/office/officeart/2005/8/layout/orgChart1"/>
    <dgm:cxn modelId="{E184953C-0694-4CD0-8632-E1BD3BAD7A6B}" type="presOf" srcId="{DDAD9549-51AC-4852-8D1F-7853EE254EAB}" destId="{5BE1293F-E52E-4364-815E-BA964B2E313E}" srcOrd="1" destOrd="0" presId="urn:microsoft.com/office/officeart/2005/8/layout/orgChart1"/>
    <dgm:cxn modelId="{F032C83C-2CDE-4DF1-A8DC-B85E12986189}" type="presOf" srcId="{3A6AA12D-C2E9-4BD8-BD2C-3FE7294AFEB9}" destId="{3DD70376-3E3F-43E1-B2C6-956970C172ED}" srcOrd="0" destOrd="0" presId="urn:microsoft.com/office/officeart/2005/8/layout/orgChart1"/>
    <dgm:cxn modelId="{9FC21D5B-06BC-49E5-8C4E-F480E835FE0A}" srcId="{3A6AA12D-C2E9-4BD8-BD2C-3FE7294AFEB9}" destId="{3BD6BDA0-26C3-403D-88CB-AA822E74B732}" srcOrd="3" destOrd="0" parTransId="{65A34516-2507-40EF-8E38-D5D5269E852E}" sibTransId="{875E4EA7-E344-4050-AAC7-9D78DAA4E1B4}"/>
    <dgm:cxn modelId="{2A57BB48-EEA3-4D82-82C5-A5CCD73690B9}" type="presOf" srcId="{4CBA4916-03C1-4A6B-AF7E-954DE1AB4700}" destId="{6E21471F-70DD-425A-96EB-D138019D0017}" srcOrd="0" destOrd="0" presId="urn:microsoft.com/office/officeart/2005/8/layout/orgChart1"/>
    <dgm:cxn modelId="{06EAE96A-939C-4E13-8405-E08EE8AA498F}" type="presOf" srcId="{9FB97EE0-DCD5-4156-8D38-FCFF580D44FD}" destId="{2D7AE81F-8C7C-4CA7-9284-3B78B04D4886}" srcOrd="1" destOrd="0" presId="urn:microsoft.com/office/officeart/2005/8/layout/orgChart1"/>
    <dgm:cxn modelId="{DF6C7C4B-810F-4B4F-8577-277D98D6FA11}" srcId="{3A6AA12D-C2E9-4BD8-BD2C-3FE7294AFEB9}" destId="{9FB97EE0-DCD5-4156-8D38-FCFF580D44FD}" srcOrd="0" destOrd="0" parTransId="{FF1888FE-33B9-4643-AE7A-09A40E256103}" sibTransId="{58FFF5EC-3E90-4DDD-A670-28424277750F}"/>
    <dgm:cxn modelId="{D8D3036D-63BE-483E-B0AF-FD04F63D2A49}" type="presOf" srcId="{3A6AA12D-C2E9-4BD8-BD2C-3FE7294AFEB9}" destId="{9AB5A911-E489-48AE-B687-7440697238B3}" srcOrd="1" destOrd="0" presId="urn:microsoft.com/office/officeart/2005/8/layout/orgChart1"/>
    <dgm:cxn modelId="{1D6C916D-396B-4F46-8DBA-7510D0EB5C8F}" srcId="{3A6AA12D-C2E9-4BD8-BD2C-3FE7294AFEB9}" destId="{C57AEB62-8521-4B3A-8958-87E1270B529D}" srcOrd="6" destOrd="0" parTransId="{52018A7B-3ADD-46AE-AA01-F8F8C6C7FE96}" sibTransId="{29608A20-D110-42A1-9C64-14C0B62390F1}"/>
    <dgm:cxn modelId="{7D163A4F-193A-4940-A8BA-4CE1BE9E84D8}" type="presOf" srcId="{FF1888FE-33B9-4643-AE7A-09A40E256103}" destId="{1F1BF832-7D6F-4314-8A20-B77ADD6E09FD}" srcOrd="0" destOrd="0" presId="urn:microsoft.com/office/officeart/2005/8/layout/orgChart1"/>
    <dgm:cxn modelId="{35F84B56-B58F-42F6-8D42-4E794C0A3AEE}" type="presOf" srcId="{3BD6BDA0-26C3-403D-88CB-AA822E74B732}" destId="{609EB9A4-2680-422B-ADA3-4CA28FF595B7}" srcOrd="0" destOrd="0" presId="urn:microsoft.com/office/officeart/2005/8/layout/orgChart1"/>
    <dgm:cxn modelId="{E5C03097-8C23-405D-8CB3-ED598E296DC3}" srcId="{3A6AA12D-C2E9-4BD8-BD2C-3FE7294AFEB9}" destId="{4CBA4916-03C1-4A6B-AF7E-954DE1AB4700}" srcOrd="5" destOrd="0" parTransId="{78879A09-8796-42CA-8554-7D4602B98BE0}" sibTransId="{D1522DCD-FAB1-4478-862F-3D1E39FDE66C}"/>
    <dgm:cxn modelId="{DFEFC1A0-1FC4-4E95-B9C9-0F449C95655C}" type="presOf" srcId="{D3D0C99A-1A2F-48B9-92A7-B5D699B81BB4}" destId="{766BDE4F-B05F-4DE9-9297-2C646DE2E6AF}" srcOrd="0" destOrd="0" presId="urn:microsoft.com/office/officeart/2005/8/layout/orgChart1"/>
    <dgm:cxn modelId="{64AF36A2-FAAE-4A6F-8408-0DAA70EF67D3}" srcId="{D0A0F61B-4303-4677-84F2-61B7E1A91C18}" destId="{3A6AA12D-C2E9-4BD8-BD2C-3FE7294AFEB9}" srcOrd="0" destOrd="0" parTransId="{CB68BD35-2E0D-48E5-8A70-3DF166BD3AE0}" sibTransId="{279954E4-66B2-4DF1-BBD5-CB4E7B281C1D}"/>
    <dgm:cxn modelId="{B7DD91A3-CCE7-4CB4-B37C-53FDDC6BA836}" type="presOf" srcId="{2C8BBE09-D937-4AF8-B69B-DA9CA12F6B02}" destId="{E5B64A66-98C3-4BB7-B533-49BBD6320137}" srcOrd="0" destOrd="0" presId="urn:microsoft.com/office/officeart/2005/8/layout/orgChart1"/>
    <dgm:cxn modelId="{66931EAC-E36B-4C7E-B667-75F915330C0D}" srcId="{3A6AA12D-C2E9-4BD8-BD2C-3FE7294AFEB9}" destId="{DDAD9549-51AC-4852-8D1F-7853EE254EAB}" srcOrd="2" destOrd="0" parTransId="{D3D0C99A-1A2F-48B9-92A7-B5D699B81BB4}" sibTransId="{4D69A56D-7A7B-4814-81BC-D8408374810F}"/>
    <dgm:cxn modelId="{11A413AD-5B67-4931-87CE-EF433FEA3739}" srcId="{3A6AA12D-C2E9-4BD8-BD2C-3FE7294AFEB9}" destId="{356BB6D9-A53C-40AA-9340-A57AFC579674}" srcOrd="4" destOrd="0" parTransId="{2C8BBE09-D937-4AF8-B69B-DA9CA12F6B02}" sibTransId="{2321DCB6-A69E-4DF4-BE16-88C5FCCE48DC}"/>
    <dgm:cxn modelId="{FE45CBAE-DE70-44B0-8572-50F540EE3538}" type="presOf" srcId="{C57AEB62-8521-4B3A-8958-87E1270B529D}" destId="{09F933FE-904C-41E0-8847-5EE14ADC5F19}" srcOrd="0" destOrd="0" presId="urn:microsoft.com/office/officeart/2005/8/layout/orgChart1"/>
    <dgm:cxn modelId="{A464E7B9-0D77-4D52-BEF7-9D604FF3DC08}" type="presOf" srcId="{9FB97EE0-DCD5-4156-8D38-FCFF580D44FD}" destId="{BCA0F817-645B-4DF6-B98A-68FC4A66FB72}" srcOrd="0" destOrd="0" presId="urn:microsoft.com/office/officeart/2005/8/layout/orgChart1"/>
    <dgm:cxn modelId="{D4EFCBBC-F070-4F79-A9F1-362C22BB94FE}" type="presOf" srcId="{B6DB7651-7D81-4F5E-A74E-1CE9D132FFA1}" destId="{919252C1-5E8F-4C1E-8B07-9019D6B598DF}" srcOrd="0" destOrd="0" presId="urn:microsoft.com/office/officeart/2005/8/layout/orgChart1"/>
    <dgm:cxn modelId="{28AD6DC2-7F70-4CF1-BE69-A0B726F63C93}" type="presOf" srcId="{B6DB7651-7D81-4F5E-A74E-1CE9D132FFA1}" destId="{B05F8344-AFEA-433E-AB6E-DA6446A9FBE1}" srcOrd="1" destOrd="0" presId="urn:microsoft.com/office/officeart/2005/8/layout/orgChart1"/>
    <dgm:cxn modelId="{408FDCD7-6D9B-4919-8D87-FEE836EC6689}" type="presOf" srcId="{3BD6BDA0-26C3-403D-88CB-AA822E74B732}" destId="{6A578C9B-36DC-47B6-B550-4B2973A0AD3E}" srcOrd="1" destOrd="0" presId="urn:microsoft.com/office/officeart/2005/8/layout/orgChart1"/>
    <dgm:cxn modelId="{4A4D75DE-8916-4725-9070-945E3EED449F}" type="presOf" srcId="{62C9F470-4316-48F8-8263-FB85C0AF66D0}" destId="{C18E588E-D810-43F6-B8D0-371D7DDA551F}" srcOrd="0" destOrd="0" presId="urn:microsoft.com/office/officeart/2005/8/layout/orgChart1"/>
    <dgm:cxn modelId="{D6DD01DF-9AA7-4FCC-9B56-5694F179575B}" type="presOf" srcId="{356BB6D9-A53C-40AA-9340-A57AFC579674}" destId="{A746DBFA-FF7B-450A-9600-1DCEA1D74B2C}" srcOrd="1" destOrd="0" presId="urn:microsoft.com/office/officeart/2005/8/layout/orgChart1"/>
    <dgm:cxn modelId="{6A986DE3-EA29-42DA-9DE5-1787A7CE0A8D}" type="presOf" srcId="{C57AEB62-8521-4B3A-8958-87E1270B529D}" destId="{019907A6-8841-40DF-BD59-2AE933C6AF50}" srcOrd="1" destOrd="0" presId="urn:microsoft.com/office/officeart/2005/8/layout/orgChart1"/>
    <dgm:cxn modelId="{B62A91E6-1B1E-4C73-880C-82235C311D16}" type="presOf" srcId="{D0A0F61B-4303-4677-84F2-61B7E1A91C18}" destId="{CB5D569C-B44B-4308-B27F-633455E5871F}" srcOrd="0" destOrd="0" presId="urn:microsoft.com/office/officeart/2005/8/layout/orgChart1"/>
    <dgm:cxn modelId="{D8771FEA-5C29-4C98-9410-A0D7FBC06628}" type="presOf" srcId="{78879A09-8796-42CA-8554-7D4602B98BE0}" destId="{0D5A4952-58DB-4379-A0FF-9CF9AA8B30A9}" srcOrd="0" destOrd="0" presId="urn:microsoft.com/office/officeart/2005/8/layout/orgChart1"/>
    <dgm:cxn modelId="{41CA94F0-5A8E-4ACB-8F43-2EE3CFC41C3F}" srcId="{3A6AA12D-C2E9-4BD8-BD2C-3FE7294AFEB9}" destId="{B6DB7651-7D81-4F5E-A74E-1CE9D132FFA1}" srcOrd="1" destOrd="0" parTransId="{62C9F470-4316-48F8-8263-FB85C0AF66D0}" sibTransId="{DB3F6F20-C891-487A-A115-B4C419FAC740}"/>
    <dgm:cxn modelId="{29057BAA-5C17-4DE3-9C01-9B8EEED7853B}" type="presParOf" srcId="{CB5D569C-B44B-4308-B27F-633455E5871F}" destId="{AB795A0E-3C7B-47E3-BC47-3534A54F9190}" srcOrd="0" destOrd="0" presId="urn:microsoft.com/office/officeart/2005/8/layout/orgChart1"/>
    <dgm:cxn modelId="{C071476A-4F93-452C-84C5-CEDF2FDC26FF}" type="presParOf" srcId="{AB795A0E-3C7B-47E3-BC47-3534A54F9190}" destId="{6AEEC0CB-D732-40ED-98C7-E88C954633C1}" srcOrd="0" destOrd="0" presId="urn:microsoft.com/office/officeart/2005/8/layout/orgChart1"/>
    <dgm:cxn modelId="{11A92872-9377-4006-B8FD-92DA524FCEE7}" type="presParOf" srcId="{6AEEC0CB-D732-40ED-98C7-E88C954633C1}" destId="{3DD70376-3E3F-43E1-B2C6-956970C172ED}" srcOrd="0" destOrd="0" presId="urn:microsoft.com/office/officeart/2005/8/layout/orgChart1"/>
    <dgm:cxn modelId="{91B5E2C8-7E72-4421-8A35-E14AC12CF3EC}" type="presParOf" srcId="{6AEEC0CB-D732-40ED-98C7-E88C954633C1}" destId="{9AB5A911-E489-48AE-B687-7440697238B3}" srcOrd="1" destOrd="0" presId="urn:microsoft.com/office/officeart/2005/8/layout/orgChart1"/>
    <dgm:cxn modelId="{C5F08D8F-789B-4E80-A953-2ED5DEC31E22}" type="presParOf" srcId="{AB795A0E-3C7B-47E3-BC47-3534A54F9190}" destId="{E404BA80-6E0F-4C3E-BC06-4E7117DCF3CE}" srcOrd="1" destOrd="0" presId="urn:microsoft.com/office/officeart/2005/8/layout/orgChart1"/>
    <dgm:cxn modelId="{6B52E496-B737-438F-A448-92E267587A43}" type="presParOf" srcId="{E404BA80-6E0F-4C3E-BC06-4E7117DCF3CE}" destId="{1F1BF832-7D6F-4314-8A20-B77ADD6E09FD}" srcOrd="0" destOrd="0" presId="urn:microsoft.com/office/officeart/2005/8/layout/orgChart1"/>
    <dgm:cxn modelId="{DF652E7C-B1F4-4BA6-BFA7-831FDB1A5BDD}" type="presParOf" srcId="{E404BA80-6E0F-4C3E-BC06-4E7117DCF3CE}" destId="{338F5E53-0455-48EE-ABDF-BFB85DD1E3B8}" srcOrd="1" destOrd="0" presId="urn:microsoft.com/office/officeart/2005/8/layout/orgChart1"/>
    <dgm:cxn modelId="{EB88FCCF-D344-4887-A84B-6FD3AAD27261}" type="presParOf" srcId="{338F5E53-0455-48EE-ABDF-BFB85DD1E3B8}" destId="{3AFE5463-745F-4692-AF4E-CB50EC31BE95}" srcOrd="0" destOrd="0" presId="urn:microsoft.com/office/officeart/2005/8/layout/orgChart1"/>
    <dgm:cxn modelId="{AABC9751-8E32-4104-B8FA-496731470BCC}" type="presParOf" srcId="{3AFE5463-745F-4692-AF4E-CB50EC31BE95}" destId="{BCA0F817-645B-4DF6-B98A-68FC4A66FB72}" srcOrd="0" destOrd="0" presId="urn:microsoft.com/office/officeart/2005/8/layout/orgChart1"/>
    <dgm:cxn modelId="{557A0A2D-732F-4AD9-8689-4042F6FF663D}" type="presParOf" srcId="{3AFE5463-745F-4692-AF4E-CB50EC31BE95}" destId="{2D7AE81F-8C7C-4CA7-9284-3B78B04D4886}" srcOrd="1" destOrd="0" presId="urn:microsoft.com/office/officeart/2005/8/layout/orgChart1"/>
    <dgm:cxn modelId="{3E9C56F5-87AD-4451-8A60-DE19E58F1CC1}" type="presParOf" srcId="{338F5E53-0455-48EE-ABDF-BFB85DD1E3B8}" destId="{57B634ED-9877-4988-A910-1E72805200C1}" srcOrd="1" destOrd="0" presId="urn:microsoft.com/office/officeart/2005/8/layout/orgChart1"/>
    <dgm:cxn modelId="{92845914-1825-46B9-8693-EDA94F8DAA46}" type="presParOf" srcId="{338F5E53-0455-48EE-ABDF-BFB85DD1E3B8}" destId="{33976D44-C62D-46BD-99B9-28ACEAC7D476}" srcOrd="2" destOrd="0" presId="urn:microsoft.com/office/officeart/2005/8/layout/orgChart1"/>
    <dgm:cxn modelId="{6FC688F4-DA59-404B-82C2-93352CA80F1D}" type="presParOf" srcId="{E404BA80-6E0F-4C3E-BC06-4E7117DCF3CE}" destId="{C18E588E-D810-43F6-B8D0-371D7DDA551F}" srcOrd="2" destOrd="0" presId="urn:microsoft.com/office/officeart/2005/8/layout/orgChart1"/>
    <dgm:cxn modelId="{F9DA5115-2867-4260-8456-2D42F0F43FE6}" type="presParOf" srcId="{E404BA80-6E0F-4C3E-BC06-4E7117DCF3CE}" destId="{84EB36B9-62D1-4B5C-A597-7F19B7690CBB}" srcOrd="3" destOrd="0" presId="urn:microsoft.com/office/officeart/2005/8/layout/orgChart1"/>
    <dgm:cxn modelId="{3E6B6D14-C6B1-4C5C-BD39-573E8A8B9E05}" type="presParOf" srcId="{84EB36B9-62D1-4B5C-A597-7F19B7690CBB}" destId="{FF286CB8-4EF0-4920-A52C-FE142401368E}" srcOrd="0" destOrd="0" presId="urn:microsoft.com/office/officeart/2005/8/layout/orgChart1"/>
    <dgm:cxn modelId="{31A182DD-6D2A-4A12-8C47-956FA0DCB4E1}" type="presParOf" srcId="{FF286CB8-4EF0-4920-A52C-FE142401368E}" destId="{919252C1-5E8F-4C1E-8B07-9019D6B598DF}" srcOrd="0" destOrd="0" presId="urn:microsoft.com/office/officeart/2005/8/layout/orgChart1"/>
    <dgm:cxn modelId="{C2B74B97-2AE3-4A4E-90CB-CB83D81F4791}" type="presParOf" srcId="{FF286CB8-4EF0-4920-A52C-FE142401368E}" destId="{B05F8344-AFEA-433E-AB6E-DA6446A9FBE1}" srcOrd="1" destOrd="0" presId="urn:microsoft.com/office/officeart/2005/8/layout/orgChart1"/>
    <dgm:cxn modelId="{F5D335B5-B479-4E14-921B-AAE19D972589}" type="presParOf" srcId="{84EB36B9-62D1-4B5C-A597-7F19B7690CBB}" destId="{D6EB8568-0C1F-45AB-B966-8E98CC819E16}" srcOrd="1" destOrd="0" presId="urn:microsoft.com/office/officeart/2005/8/layout/orgChart1"/>
    <dgm:cxn modelId="{850463DC-01D9-4C3B-AA4E-789EA866B1ED}" type="presParOf" srcId="{84EB36B9-62D1-4B5C-A597-7F19B7690CBB}" destId="{B7191E19-DD2A-4BAB-A4A6-36528F9B308C}" srcOrd="2" destOrd="0" presId="urn:microsoft.com/office/officeart/2005/8/layout/orgChart1"/>
    <dgm:cxn modelId="{6935BBB6-629E-4BC9-A59C-6F66DF7DBDF5}" type="presParOf" srcId="{E404BA80-6E0F-4C3E-BC06-4E7117DCF3CE}" destId="{766BDE4F-B05F-4DE9-9297-2C646DE2E6AF}" srcOrd="4" destOrd="0" presId="urn:microsoft.com/office/officeart/2005/8/layout/orgChart1"/>
    <dgm:cxn modelId="{C907E441-1B42-406F-B9AA-A926EF6CF8E7}" type="presParOf" srcId="{E404BA80-6E0F-4C3E-BC06-4E7117DCF3CE}" destId="{1CBB0A5B-52FA-4FDC-A7F6-04043CF6D315}" srcOrd="5" destOrd="0" presId="urn:microsoft.com/office/officeart/2005/8/layout/orgChart1"/>
    <dgm:cxn modelId="{9E33E51E-D96A-43C8-9668-93F102F6850F}" type="presParOf" srcId="{1CBB0A5B-52FA-4FDC-A7F6-04043CF6D315}" destId="{59E27656-95E6-4F48-866C-8989D63D5D9B}" srcOrd="0" destOrd="0" presId="urn:microsoft.com/office/officeart/2005/8/layout/orgChart1"/>
    <dgm:cxn modelId="{EB9FA229-154A-4237-8874-8193BD77356C}" type="presParOf" srcId="{59E27656-95E6-4F48-866C-8989D63D5D9B}" destId="{CB31C50E-0282-4D4F-B0CC-4E9722E2149F}" srcOrd="0" destOrd="0" presId="urn:microsoft.com/office/officeart/2005/8/layout/orgChart1"/>
    <dgm:cxn modelId="{EA36CBFE-0902-4C45-BFE5-A5AA52682529}" type="presParOf" srcId="{59E27656-95E6-4F48-866C-8989D63D5D9B}" destId="{5BE1293F-E52E-4364-815E-BA964B2E313E}" srcOrd="1" destOrd="0" presId="urn:microsoft.com/office/officeart/2005/8/layout/orgChart1"/>
    <dgm:cxn modelId="{B78C26ED-8C00-4DBF-A657-4C51C8C8D354}" type="presParOf" srcId="{1CBB0A5B-52FA-4FDC-A7F6-04043CF6D315}" destId="{4DF886EB-5C4D-4256-BFCD-293C86C11368}" srcOrd="1" destOrd="0" presId="urn:microsoft.com/office/officeart/2005/8/layout/orgChart1"/>
    <dgm:cxn modelId="{2F32B33E-83F7-4C42-A5E2-1BECA668C468}" type="presParOf" srcId="{1CBB0A5B-52FA-4FDC-A7F6-04043CF6D315}" destId="{7322A613-0704-460A-A42A-D682B2D8407D}" srcOrd="2" destOrd="0" presId="urn:microsoft.com/office/officeart/2005/8/layout/orgChart1"/>
    <dgm:cxn modelId="{B5E89264-3B83-4C7C-8693-DE619F9601E8}" type="presParOf" srcId="{E404BA80-6E0F-4C3E-BC06-4E7117DCF3CE}" destId="{EBDEDD73-1A0D-448D-87EC-AF798632099F}" srcOrd="6" destOrd="0" presId="urn:microsoft.com/office/officeart/2005/8/layout/orgChart1"/>
    <dgm:cxn modelId="{8A220EB8-8CAD-41CA-A070-7080B8223DA0}" type="presParOf" srcId="{E404BA80-6E0F-4C3E-BC06-4E7117DCF3CE}" destId="{C82B6449-FC96-4809-891D-3F77115F2A6E}" srcOrd="7" destOrd="0" presId="urn:microsoft.com/office/officeart/2005/8/layout/orgChart1"/>
    <dgm:cxn modelId="{18C5BD65-3C20-4BAA-B544-FDBC08E6973E}" type="presParOf" srcId="{C82B6449-FC96-4809-891D-3F77115F2A6E}" destId="{D4CF06AD-AC28-4337-8DC4-C77F82AF429A}" srcOrd="0" destOrd="0" presId="urn:microsoft.com/office/officeart/2005/8/layout/orgChart1"/>
    <dgm:cxn modelId="{7371F6D0-E394-47B9-AA15-BC400041C169}" type="presParOf" srcId="{D4CF06AD-AC28-4337-8DC4-C77F82AF429A}" destId="{609EB9A4-2680-422B-ADA3-4CA28FF595B7}" srcOrd="0" destOrd="0" presId="urn:microsoft.com/office/officeart/2005/8/layout/orgChart1"/>
    <dgm:cxn modelId="{4F8F640D-899F-458F-B9B6-FDBB74BF4352}" type="presParOf" srcId="{D4CF06AD-AC28-4337-8DC4-C77F82AF429A}" destId="{6A578C9B-36DC-47B6-B550-4B2973A0AD3E}" srcOrd="1" destOrd="0" presId="urn:microsoft.com/office/officeart/2005/8/layout/orgChart1"/>
    <dgm:cxn modelId="{698B292B-E260-40FA-9473-3E10F23CF7FD}" type="presParOf" srcId="{C82B6449-FC96-4809-891D-3F77115F2A6E}" destId="{AD9A910C-E527-4DA9-9196-9F0784AF9A03}" srcOrd="1" destOrd="0" presId="urn:microsoft.com/office/officeart/2005/8/layout/orgChart1"/>
    <dgm:cxn modelId="{838710EE-17E7-4CCB-99EA-7BD674627B5E}" type="presParOf" srcId="{C82B6449-FC96-4809-891D-3F77115F2A6E}" destId="{CB6FB5E4-D783-4232-B545-77163E1752CE}" srcOrd="2" destOrd="0" presId="urn:microsoft.com/office/officeart/2005/8/layout/orgChart1"/>
    <dgm:cxn modelId="{2F4CEABC-468E-45F7-B92F-C380C9893CE0}" type="presParOf" srcId="{E404BA80-6E0F-4C3E-BC06-4E7117DCF3CE}" destId="{E5B64A66-98C3-4BB7-B533-49BBD6320137}" srcOrd="8" destOrd="0" presId="urn:microsoft.com/office/officeart/2005/8/layout/orgChart1"/>
    <dgm:cxn modelId="{EB2F7685-3280-49D4-AA09-58AAE1F084E4}" type="presParOf" srcId="{E404BA80-6E0F-4C3E-BC06-4E7117DCF3CE}" destId="{C9AC80DA-5C67-471C-A517-09C56065513F}" srcOrd="9" destOrd="0" presId="urn:microsoft.com/office/officeart/2005/8/layout/orgChart1"/>
    <dgm:cxn modelId="{F4A2FE12-3F4D-4843-821D-F9DEB91D8BF0}" type="presParOf" srcId="{C9AC80DA-5C67-471C-A517-09C56065513F}" destId="{5750CD8B-3CA9-4453-A7EE-8F1E255127A6}" srcOrd="0" destOrd="0" presId="urn:microsoft.com/office/officeart/2005/8/layout/orgChart1"/>
    <dgm:cxn modelId="{AD079B31-DA43-46EE-B418-336CE2230B04}" type="presParOf" srcId="{5750CD8B-3CA9-4453-A7EE-8F1E255127A6}" destId="{8A836A0C-FAC7-4158-B0FF-92C12F5D70AB}" srcOrd="0" destOrd="0" presId="urn:microsoft.com/office/officeart/2005/8/layout/orgChart1"/>
    <dgm:cxn modelId="{0AF843CA-2DA0-416C-8AA9-6F8CC1D5D13E}" type="presParOf" srcId="{5750CD8B-3CA9-4453-A7EE-8F1E255127A6}" destId="{A746DBFA-FF7B-450A-9600-1DCEA1D74B2C}" srcOrd="1" destOrd="0" presId="urn:microsoft.com/office/officeart/2005/8/layout/orgChart1"/>
    <dgm:cxn modelId="{1561FB6D-80EB-44CF-82B8-9072CB60A1FA}" type="presParOf" srcId="{C9AC80DA-5C67-471C-A517-09C56065513F}" destId="{D6908B42-389D-4B5A-BA13-88E673F4D8AC}" srcOrd="1" destOrd="0" presId="urn:microsoft.com/office/officeart/2005/8/layout/orgChart1"/>
    <dgm:cxn modelId="{496E5F59-6298-43B6-8166-78249A6D221C}" type="presParOf" srcId="{C9AC80DA-5C67-471C-A517-09C56065513F}" destId="{6FC657D7-A26A-4CF7-8A36-60820E479DED}" srcOrd="2" destOrd="0" presId="urn:microsoft.com/office/officeart/2005/8/layout/orgChart1"/>
    <dgm:cxn modelId="{AB4EC589-91DF-499A-99A6-E83137963056}" type="presParOf" srcId="{E404BA80-6E0F-4C3E-BC06-4E7117DCF3CE}" destId="{0D5A4952-58DB-4379-A0FF-9CF9AA8B30A9}" srcOrd="10" destOrd="0" presId="urn:microsoft.com/office/officeart/2005/8/layout/orgChart1"/>
    <dgm:cxn modelId="{E349D361-169E-438F-A7B2-248483B91DB5}" type="presParOf" srcId="{E404BA80-6E0F-4C3E-BC06-4E7117DCF3CE}" destId="{D2909641-ED8A-4F63-8E22-D0C2F560868D}" srcOrd="11" destOrd="0" presId="urn:microsoft.com/office/officeart/2005/8/layout/orgChart1"/>
    <dgm:cxn modelId="{78E7B13E-8B62-4C15-8545-E4C8D4F17074}" type="presParOf" srcId="{D2909641-ED8A-4F63-8E22-D0C2F560868D}" destId="{8747B277-287C-4F96-AAF1-71B5A44990BB}" srcOrd="0" destOrd="0" presId="urn:microsoft.com/office/officeart/2005/8/layout/orgChart1"/>
    <dgm:cxn modelId="{3F9300D6-2600-47B1-B155-326327E6D84B}" type="presParOf" srcId="{8747B277-287C-4F96-AAF1-71B5A44990BB}" destId="{6E21471F-70DD-425A-96EB-D138019D0017}" srcOrd="0" destOrd="0" presId="urn:microsoft.com/office/officeart/2005/8/layout/orgChart1"/>
    <dgm:cxn modelId="{891E012C-14F3-4EE8-8B88-FBBE39ABC9C8}" type="presParOf" srcId="{8747B277-287C-4F96-AAF1-71B5A44990BB}" destId="{4434DAB3-9F54-4E34-870E-DE4B9CBDF485}" srcOrd="1" destOrd="0" presId="urn:microsoft.com/office/officeart/2005/8/layout/orgChart1"/>
    <dgm:cxn modelId="{3BDE28C2-114C-4EB1-9D33-A2CE2E72044A}" type="presParOf" srcId="{D2909641-ED8A-4F63-8E22-D0C2F560868D}" destId="{6D49527A-6F9D-48D3-82C3-4CC6BEAC2FC9}" srcOrd="1" destOrd="0" presId="urn:microsoft.com/office/officeart/2005/8/layout/orgChart1"/>
    <dgm:cxn modelId="{C4532B28-B427-458A-B237-805304BA93E4}" type="presParOf" srcId="{D2909641-ED8A-4F63-8E22-D0C2F560868D}" destId="{25160CDE-B463-4E43-B76B-D9F74A3CA323}" srcOrd="2" destOrd="0" presId="urn:microsoft.com/office/officeart/2005/8/layout/orgChart1"/>
    <dgm:cxn modelId="{901A7285-A767-4579-9A82-EFD51C9E4802}" type="presParOf" srcId="{E404BA80-6E0F-4C3E-BC06-4E7117DCF3CE}" destId="{7C650D1E-3017-4717-95CC-BB314B759F2C}" srcOrd="12" destOrd="0" presId="urn:microsoft.com/office/officeart/2005/8/layout/orgChart1"/>
    <dgm:cxn modelId="{871B8F69-7AEC-455D-AB5A-F3E1F8BF1527}" type="presParOf" srcId="{E404BA80-6E0F-4C3E-BC06-4E7117DCF3CE}" destId="{4C66E9E1-6C36-4396-934D-67AA4CDE3382}" srcOrd="13" destOrd="0" presId="urn:microsoft.com/office/officeart/2005/8/layout/orgChart1"/>
    <dgm:cxn modelId="{4B758311-419C-4D4C-B2DD-A194CAC1D97D}" type="presParOf" srcId="{4C66E9E1-6C36-4396-934D-67AA4CDE3382}" destId="{D35D85B9-3FC5-4C6D-B06C-532F87EB7C78}" srcOrd="0" destOrd="0" presId="urn:microsoft.com/office/officeart/2005/8/layout/orgChart1"/>
    <dgm:cxn modelId="{5BAD28E7-0187-404B-BB9C-698BCDF6482B}" type="presParOf" srcId="{D35D85B9-3FC5-4C6D-B06C-532F87EB7C78}" destId="{09F933FE-904C-41E0-8847-5EE14ADC5F19}" srcOrd="0" destOrd="0" presId="urn:microsoft.com/office/officeart/2005/8/layout/orgChart1"/>
    <dgm:cxn modelId="{899A1936-2B12-4688-82C4-87D0B0A8A069}" type="presParOf" srcId="{D35D85B9-3FC5-4C6D-B06C-532F87EB7C78}" destId="{019907A6-8841-40DF-BD59-2AE933C6AF50}" srcOrd="1" destOrd="0" presId="urn:microsoft.com/office/officeart/2005/8/layout/orgChart1"/>
    <dgm:cxn modelId="{BAC37B21-89FD-4C41-8E10-1538BBF7620D}" type="presParOf" srcId="{4C66E9E1-6C36-4396-934D-67AA4CDE3382}" destId="{8C029093-EDCE-41EE-BBC1-026AF27C95C6}" srcOrd="1" destOrd="0" presId="urn:microsoft.com/office/officeart/2005/8/layout/orgChart1"/>
    <dgm:cxn modelId="{A29601C7-872C-405F-AC37-6103E52D8808}" type="presParOf" srcId="{4C66E9E1-6C36-4396-934D-67AA4CDE3382}" destId="{E452553B-C85A-4293-B98D-38AFFA531F0C}" srcOrd="2" destOrd="0" presId="urn:microsoft.com/office/officeart/2005/8/layout/orgChart1"/>
    <dgm:cxn modelId="{0D55C80E-8C62-48F3-97AA-07336229F4B9}" type="presParOf" srcId="{AB795A0E-3C7B-47E3-BC47-3534A54F9190}" destId="{393210D2-D629-4CE1-A3A4-675C9384F18A}" srcOrd="2" destOrd="0" presId="urn:microsoft.com/office/officeart/2005/8/layout/orgChart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D0A0F61B-4303-4677-84F2-61B7E1A91C18}" type="doc">
      <dgm:prSet loTypeId="urn:microsoft.com/office/officeart/2005/8/layout/orgChart1" loCatId="hierarchy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3A6AA12D-C2E9-4BD8-BD2C-3FE7294AFEB9}">
      <dgm:prSet custT="1"/>
      <dgm:spPr/>
      <dgm:t>
        <a:bodyPr/>
        <a:lstStyle/>
        <a:p>
          <a:r>
            <a:rPr lang="de-DE" sz="1000"/>
            <a:t>Attribute</a:t>
          </a:r>
        </a:p>
      </dgm:t>
    </dgm:pt>
    <dgm:pt modelId="{CB68BD35-2E0D-48E5-8A70-3DF166BD3AE0}" type="parTrans" cxnId="{64AF36A2-FAAE-4A6F-8408-0DAA70EF67D3}">
      <dgm:prSet/>
      <dgm:spPr/>
      <dgm:t>
        <a:bodyPr/>
        <a:lstStyle/>
        <a:p>
          <a:endParaRPr lang="de-DE"/>
        </a:p>
      </dgm:t>
    </dgm:pt>
    <dgm:pt modelId="{279954E4-66B2-4DF1-BBD5-CB4E7B281C1D}" type="sibTrans" cxnId="{64AF36A2-FAAE-4A6F-8408-0DAA70EF67D3}">
      <dgm:prSet/>
      <dgm:spPr/>
      <dgm:t>
        <a:bodyPr/>
        <a:lstStyle/>
        <a:p>
          <a:endParaRPr lang="de-DE"/>
        </a:p>
      </dgm:t>
    </dgm:pt>
    <dgm:pt modelId="{9FB97EE0-DCD5-4156-8D38-FCFF580D44FD}">
      <dgm:prSet custT="1"/>
      <dgm:spPr/>
      <dgm:t>
        <a:bodyPr/>
        <a:lstStyle/>
        <a:p>
          <a:r>
            <a:rPr lang="de-DE" sz="1000" dirty="0"/>
            <a:t>Wetterstation</a:t>
          </a:r>
        </a:p>
      </dgm:t>
    </dgm:pt>
    <dgm:pt modelId="{FF1888FE-33B9-4643-AE7A-09A40E256103}" type="parTrans" cxnId="{DF6C7C4B-810F-4B4F-8577-277D98D6FA11}">
      <dgm:prSet/>
      <dgm:spPr/>
      <dgm:t>
        <a:bodyPr/>
        <a:lstStyle/>
        <a:p>
          <a:endParaRPr lang="de-DE" sz="1000"/>
        </a:p>
      </dgm:t>
    </dgm:pt>
    <dgm:pt modelId="{58FFF5EC-3E90-4DDD-A670-28424277750F}" type="sibTrans" cxnId="{DF6C7C4B-810F-4B4F-8577-277D98D6FA11}">
      <dgm:prSet/>
      <dgm:spPr/>
      <dgm:t>
        <a:bodyPr/>
        <a:lstStyle/>
        <a:p>
          <a:endParaRPr lang="de-DE"/>
        </a:p>
      </dgm:t>
    </dgm:pt>
    <dgm:pt modelId="{B6DB7651-7D81-4F5E-A74E-1CE9D132FFA1}">
      <dgm:prSet custT="1"/>
      <dgm:spPr/>
      <dgm:t>
        <a:bodyPr/>
        <a:lstStyle/>
        <a:p>
          <a:r>
            <a:rPr lang="de-DE" sz="1000" dirty="0"/>
            <a:t>Mindest-temperatur pro Tag in C°</a:t>
          </a:r>
        </a:p>
      </dgm:t>
    </dgm:pt>
    <dgm:pt modelId="{62C9F470-4316-48F8-8263-FB85C0AF66D0}" type="parTrans" cxnId="{41CA94F0-5A8E-4ACB-8F43-2EE3CFC41C3F}">
      <dgm:prSet/>
      <dgm:spPr/>
      <dgm:t>
        <a:bodyPr/>
        <a:lstStyle/>
        <a:p>
          <a:endParaRPr lang="de-DE" sz="1000"/>
        </a:p>
      </dgm:t>
    </dgm:pt>
    <dgm:pt modelId="{DB3F6F20-C891-487A-A115-B4C419FAC740}" type="sibTrans" cxnId="{41CA94F0-5A8E-4ACB-8F43-2EE3CFC41C3F}">
      <dgm:prSet/>
      <dgm:spPr/>
      <dgm:t>
        <a:bodyPr/>
        <a:lstStyle/>
        <a:p>
          <a:endParaRPr lang="de-DE"/>
        </a:p>
      </dgm:t>
    </dgm:pt>
    <dgm:pt modelId="{DDAD9549-51AC-4852-8D1F-7853EE254EAB}">
      <dgm:prSet custT="1"/>
      <dgm:spPr/>
      <dgm:t>
        <a:bodyPr/>
        <a:lstStyle/>
        <a:p>
          <a:r>
            <a:rPr lang="de-DE" sz="1000" dirty="0"/>
            <a:t>Maximal-temperatur pro Tag in C°</a:t>
          </a:r>
        </a:p>
      </dgm:t>
    </dgm:pt>
    <dgm:pt modelId="{D3D0C99A-1A2F-48B9-92A7-B5D699B81BB4}" type="parTrans" cxnId="{66931EAC-E36B-4C7E-B667-75F915330C0D}">
      <dgm:prSet/>
      <dgm:spPr/>
      <dgm:t>
        <a:bodyPr/>
        <a:lstStyle/>
        <a:p>
          <a:endParaRPr lang="de-DE" sz="1000"/>
        </a:p>
      </dgm:t>
    </dgm:pt>
    <dgm:pt modelId="{4D69A56D-7A7B-4814-81BC-D8408374810F}" type="sibTrans" cxnId="{66931EAC-E36B-4C7E-B667-75F915330C0D}">
      <dgm:prSet/>
      <dgm:spPr/>
      <dgm:t>
        <a:bodyPr/>
        <a:lstStyle/>
        <a:p>
          <a:endParaRPr lang="de-DE"/>
        </a:p>
      </dgm:t>
    </dgm:pt>
    <dgm:pt modelId="{3BD6BDA0-26C3-403D-88CB-AA822E74B732}">
      <dgm:prSet custT="1"/>
      <dgm:spPr/>
      <dgm:t>
        <a:bodyPr/>
        <a:lstStyle/>
        <a:p>
          <a:r>
            <a:rPr lang="de-DE" sz="1000" dirty="0"/>
            <a:t>Schneehöhe in cm</a:t>
          </a:r>
        </a:p>
      </dgm:t>
    </dgm:pt>
    <dgm:pt modelId="{65A34516-2507-40EF-8E38-D5D5269E852E}" type="parTrans" cxnId="{9FC21D5B-06BC-49E5-8C4E-F480E835FE0A}">
      <dgm:prSet/>
      <dgm:spPr/>
      <dgm:t>
        <a:bodyPr/>
        <a:lstStyle/>
        <a:p>
          <a:endParaRPr lang="de-DE" sz="1000"/>
        </a:p>
      </dgm:t>
    </dgm:pt>
    <dgm:pt modelId="{875E4EA7-E344-4050-AAC7-9D78DAA4E1B4}" type="sibTrans" cxnId="{9FC21D5B-06BC-49E5-8C4E-F480E835FE0A}">
      <dgm:prSet/>
      <dgm:spPr/>
      <dgm:t>
        <a:bodyPr/>
        <a:lstStyle/>
        <a:p>
          <a:endParaRPr lang="de-DE"/>
        </a:p>
      </dgm:t>
    </dgm:pt>
    <dgm:pt modelId="{356BB6D9-A53C-40AA-9340-A57AFC579674}">
      <dgm:prSet custT="1"/>
      <dgm:spPr/>
      <dgm:t>
        <a:bodyPr/>
        <a:lstStyle/>
        <a:p>
          <a:r>
            <a:rPr lang="de-DE" sz="1000" dirty="0"/>
            <a:t>Niederschlags-menge in l/m^2</a:t>
          </a:r>
        </a:p>
      </dgm:t>
    </dgm:pt>
    <dgm:pt modelId="{2C8BBE09-D937-4AF8-B69B-DA9CA12F6B02}" type="parTrans" cxnId="{11A413AD-5B67-4931-87CE-EF433FEA3739}">
      <dgm:prSet/>
      <dgm:spPr/>
      <dgm:t>
        <a:bodyPr/>
        <a:lstStyle/>
        <a:p>
          <a:endParaRPr lang="de-DE" sz="1000"/>
        </a:p>
      </dgm:t>
    </dgm:pt>
    <dgm:pt modelId="{2321DCB6-A69E-4DF4-BE16-88C5FCCE48DC}" type="sibTrans" cxnId="{11A413AD-5B67-4931-87CE-EF433FEA3739}">
      <dgm:prSet/>
      <dgm:spPr/>
      <dgm:t>
        <a:bodyPr/>
        <a:lstStyle/>
        <a:p>
          <a:endParaRPr lang="de-DE"/>
        </a:p>
      </dgm:t>
    </dgm:pt>
    <dgm:pt modelId="{4CBA4916-03C1-4A6B-AF7E-954DE1AB4700}">
      <dgm:prSet custT="1"/>
      <dgm:spPr/>
      <dgm:t>
        <a:bodyPr/>
        <a:lstStyle/>
        <a:p>
          <a:r>
            <a:rPr lang="de-DE" sz="1000" dirty="0"/>
            <a:t>Sonnenschein-dauer in Stunden</a:t>
          </a:r>
        </a:p>
      </dgm:t>
    </dgm:pt>
    <dgm:pt modelId="{78879A09-8796-42CA-8554-7D4602B98BE0}" type="parTrans" cxnId="{E5C03097-8C23-405D-8CB3-ED598E296DC3}">
      <dgm:prSet/>
      <dgm:spPr/>
      <dgm:t>
        <a:bodyPr/>
        <a:lstStyle/>
        <a:p>
          <a:endParaRPr lang="de-DE" sz="1000"/>
        </a:p>
      </dgm:t>
    </dgm:pt>
    <dgm:pt modelId="{D1522DCD-FAB1-4478-862F-3D1E39FDE66C}" type="sibTrans" cxnId="{E5C03097-8C23-405D-8CB3-ED598E296DC3}">
      <dgm:prSet/>
      <dgm:spPr/>
      <dgm:t>
        <a:bodyPr/>
        <a:lstStyle/>
        <a:p>
          <a:endParaRPr lang="de-DE"/>
        </a:p>
      </dgm:t>
    </dgm:pt>
    <dgm:pt modelId="{264BE61B-92A3-4AD0-8A98-24C10B153985}">
      <dgm:prSet custT="1"/>
      <dgm:spPr/>
      <dgm:t>
        <a:bodyPr/>
        <a:lstStyle/>
        <a:p>
          <a:r>
            <a:rPr lang="de-DE" sz="1000" dirty="0"/>
            <a:t>Datum</a:t>
          </a:r>
        </a:p>
      </dgm:t>
    </dgm:pt>
    <dgm:pt modelId="{C117095E-5E26-4FE9-A2E8-EA1C4CC44EEB}" type="parTrans" cxnId="{A3F7D13C-4D29-4266-9044-E2412572E380}">
      <dgm:prSet/>
      <dgm:spPr/>
      <dgm:t>
        <a:bodyPr/>
        <a:lstStyle/>
        <a:p>
          <a:endParaRPr lang="de-DE"/>
        </a:p>
      </dgm:t>
    </dgm:pt>
    <dgm:pt modelId="{6FF6C917-CB46-40CE-B03F-5DBDA20649EB}" type="sibTrans" cxnId="{A3F7D13C-4D29-4266-9044-E2412572E380}">
      <dgm:prSet/>
      <dgm:spPr/>
      <dgm:t>
        <a:bodyPr/>
        <a:lstStyle/>
        <a:p>
          <a:endParaRPr lang="de-DE"/>
        </a:p>
      </dgm:t>
    </dgm:pt>
    <dgm:pt modelId="{CB5D569C-B44B-4308-B27F-633455E5871F}" type="pres">
      <dgm:prSet presAssocID="{D0A0F61B-4303-4677-84F2-61B7E1A91C18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AB795A0E-3C7B-47E3-BC47-3534A54F9190}" type="pres">
      <dgm:prSet presAssocID="{3A6AA12D-C2E9-4BD8-BD2C-3FE7294AFEB9}" presName="hierRoot1" presStyleCnt="0">
        <dgm:presLayoutVars>
          <dgm:hierBranch val="init"/>
        </dgm:presLayoutVars>
      </dgm:prSet>
      <dgm:spPr/>
    </dgm:pt>
    <dgm:pt modelId="{6AEEC0CB-D732-40ED-98C7-E88C954633C1}" type="pres">
      <dgm:prSet presAssocID="{3A6AA12D-C2E9-4BD8-BD2C-3FE7294AFEB9}" presName="rootComposite1" presStyleCnt="0"/>
      <dgm:spPr/>
    </dgm:pt>
    <dgm:pt modelId="{3DD70376-3E3F-43E1-B2C6-956970C172ED}" type="pres">
      <dgm:prSet presAssocID="{3A6AA12D-C2E9-4BD8-BD2C-3FE7294AFEB9}" presName="rootText1" presStyleLbl="node0" presStyleIdx="0" presStyleCnt="1" custScaleX="224472" custScaleY="263868" custLinFactNeighborY="-64180">
        <dgm:presLayoutVars>
          <dgm:chPref val="3"/>
        </dgm:presLayoutVars>
      </dgm:prSet>
      <dgm:spPr/>
    </dgm:pt>
    <dgm:pt modelId="{9AB5A911-E489-48AE-B687-7440697238B3}" type="pres">
      <dgm:prSet presAssocID="{3A6AA12D-C2E9-4BD8-BD2C-3FE7294AFEB9}" presName="rootConnector1" presStyleLbl="node1" presStyleIdx="0" presStyleCnt="0"/>
      <dgm:spPr/>
    </dgm:pt>
    <dgm:pt modelId="{E404BA80-6E0F-4C3E-BC06-4E7117DCF3CE}" type="pres">
      <dgm:prSet presAssocID="{3A6AA12D-C2E9-4BD8-BD2C-3FE7294AFEB9}" presName="hierChild2" presStyleCnt="0"/>
      <dgm:spPr/>
    </dgm:pt>
    <dgm:pt modelId="{1F1BF832-7D6F-4314-8A20-B77ADD6E09FD}" type="pres">
      <dgm:prSet presAssocID="{FF1888FE-33B9-4643-AE7A-09A40E256103}" presName="Name37" presStyleLbl="parChTrans1D2" presStyleIdx="0" presStyleCnt="7" custSzX="6005334" custSzY="306613"/>
      <dgm:spPr/>
    </dgm:pt>
    <dgm:pt modelId="{338F5E53-0455-48EE-ABDF-BFB85DD1E3B8}" type="pres">
      <dgm:prSet presAssocID="{9FB97EE0-DCD5-4156-8D38-FCFF580D44FD}" presName="hierRoot2" presStyleCnt="0">
        <dgm:presLayoutVars>
          <dgm:hierBranch val="init"/>
        </dgm:presLayoutVars>
      </dgm:prSet>
      <dgm:spPr/>
    </dgm:pt>
    <dgm:pt modelId="{3AFE5463-745F-4692-AF4E-CB50EC31BE95}" type="pres">
      <dgm:prSet presAssocID="{9FB97EE0-DCD5-4156-8D38-FCFF580D44FD}" presName="rootComposite" presStyleCnt="0"/>
      <dgm:spPr/>
    </dgm:pt>
    <dgm:pt modelId="{BCA0F817-645B-4DF6-B98A-68FC4A66FB72}" type="pres">
      <dgm:prSet presAssocID="{9FB97EE0-DCD5-4156-8D38-FCFF580D44FD}" presName="rootText" presStyleLbl="node2" presStyleIdx="0" presStyleCnt="7" custScaleX="224472" custScaleY="263868">
        <dgm:presLayoutVars>
          <dgm:chPref val="3"/>
        </dgm:presLayoutVars>
      </dgm:prSet>
      <dgm:spPr/>
    </dgm:pt>
    <dgm:pt modelId="{2D7AE81F-8C7C-4CA7-9284-3B78B04D4886}" type="pres">
      <dgm:prSet presAssocID="{9FB97EE0-DCD5-4156-8D38-FCFF580D44FD}" presName="rootConnector" presStyleLbl="node2" presStyleIdx="0" presStyleCnt="7"/>
      <dgm:spPr/>
    </dgm:pt>
    <dgm:pt modelId="{57B634ED-9877-4988-A910-1E72805200C1}" type="pres">
      <dgm:prSet presAssocID="{9FB97EE0-DCD5-4156-8D38-FCFF580D44FD}" presName="hierChild4" presStyleCnt="0"/>
      <dgm:spPr/>
    </dgm:pt>
    <dgm:pt modelId="{33976D44-C62D-46BD-99B9-28ACEAC7D476}" type="pres">
      <dgm:prSet presAssocID="{9FB97EE0-DCD5-4156-8D38-FCFF580D44FD}" presName="hierChild5" presStyleCnt="0"/>
      <dgm:spPr/>
    </dgm:pt>
    <dgm:pt modelId="{C18E588E-D810-43F6-B8D0-371D7DDA551F}" type="pres">
      <dgm:prSet presAssocID="{62C9F470-4316-48F8-8263-FB85C0AF66D0}" presName="Name37" presStyleLbl="parChTrans1D2" presStyleIdx="1" presStyleCnt="7" custSzX="4289524" custSzY="306613"/>
      <dgm:spPr/>
    </dgm:pt>
    <dgm:pt modelId="{84EB36B9-62D1-4B5C-A597-7F19B7690CBB}" type="pres">
      <dgm:prSet presAssocID="{B6DB7651-7D81-4F5E-A74E-1CE9D132FFA1}" presName="hierRoot2" presStyleCnt="0">
        <dgm:presLayoutVars>
          <dgm:hierBranch val="init"/>
        </dgm:presLayoutVars>
      </dgm:prSet>
      <dgm:spPr/>
    </dgm:pt>
    <dgm:pt modelId="{FF286CB8-4EF0-4920-A52C-FE142401368E}" type="pres">
      <dgm:prSet presAssocID="{B6DB7651-7D81-4F5E-A74E-1CE9D132FFA1}" presName="rootComposite" presStyleCnt="0"/>
      <dgm:spPr/>
    </dgm:pt>
    <dgm:pt modelId="{919252C1-5E8F-4C1E-8B07-9019D6B598DF}" type="pres">
      <dgm:prSet presAssocID="{B6DB7651-7D81-4F5E-A74E-1CE9D132FFA1}" presName="rootText" presStyleLbl="node2" presStyleIdx="1" presStyleCnt="7" custScaleX="224472" custScaleY="263868">
        <dgm:presLayoutVars>
          <dgm:chPref val="3"/>
        </dgm:presLayoutVars>
      </dgm:prSet>
      <dgm:spPr/>
    </dgm:pt>
    <dgm:pt modelId="{B05F8344-AFEA-433E-AB6E-DA6446A9FBE1}" type="pres">
      <dgm:prSet presAssocID="{B6DB7651-7D81-4F5E-A74E-1CE9D132FFA1}" presName="rootConnector" presStyleLbl="node2" presStyleIdx="1" presStyleCnt="7"/>
      <dgm:spPr/>
    </dgm:pt>
    <dgm:pt modelId="{D6EB8568-0C1F-45AB-B966-8E98CC819E16}" type="pres">
      <dgm:prSet presAssocID="{B6DB7651-7D81-4F5E-A74E-1CE9D132FFA1}" presName="hierChild4" presStyleCnt="0"/>
      <dgm:spPr/>
    </dgm:pt>
    <dgm:pt modelId="{B7191E19-DD2A-4BAB-A4A6-36528F9B308C}" type="pres">
      <dgm:prSet presAssocID="{B6DB7651-7D81-4F5E-A74E-1CE9D132FFA1}" presName="hierChild5" presStyleCnt="0"/>
      <dgm:spPr/>
    </dgm:pt>
    <dgm:pt modelId="{766BDE4F-B05F-4DE9-9297-2C646DE2E6AF}" type="pres">
      <dgm:prSet presAssocID="{D3D0C99A-1A2F-48B9-92A7-B5D699B81BB4}" presName="Name37" presStyleLbl="parChTrans1D2" presStyleIdx="2" presStyleCnt="7" custSzX="2573714" custSzY="306613"/>
      <dgm:spPr/>
    </dgm:pt>
    <dgm:pt modelId="{1CBB0A5B-52FA-4FDC-A7F6-04043CF6D315}" type="pres">
      <dgm:prSet presAssocID="{DDAD9549-51AC-4852-8D1F-7853EE254EAB}" presName="hierRoot2" presStyleCnt="0">
        <dgm:presLayoutVars>
          <dgm:hierBranch val="init"/>
        </dgm:presLayoutVars>
      </dgm:prSet>
      <dgm:spPr/>
    </dgm:pt>
    <dgm:pt modelId="{59E27656-95E6-4F48-866C-8989D63D5D9B}" type="pres">
      <dgm:prSet presAssocID="{DDAD9549-51AC-4852-8D1F-7853EE254EAB}" presName="rootComposite" presStyleCnt="0"/>
      <dgm:spPr/>
    </dgm:pt>
    <dgm:pt modelId="{CB31C50E-0282-4D4F-B0CC-4E9722E2149F}" type="pres">
      <dgm:prSet presAssocID="{DDAD9549-51AC-4852-8D1F-7853EE254EAB}" presName="rootText" presStyleLbl="node2" presStyleIdx="2" presStyleCnt="7" custScaleX="224472" custScaleY="263868">
        <dgm:presLayoutVars>
          <dgm:chPref val="3"/>
        </dgm:presLayoutVars>
      </dgm:prSet>
      <dgm:spPr/>
    </dgm:pt>
    <dgm:pt modelId="{5BE1293F-E52E-4364-815E-BA964B2E313E}" type="pres">
      <dgm:prSet presAssocID="{DDAD9549-51AC-4852-8D1F-7853EE254EAB}" presName="rootConnector" presStyleLbl="node2" presStyleIdx="2" presStyleCnt="7"/>
      <dgm:spPr/>
    </dgm:pt>
    <dgm:pt modelId="{4DF886EB-5C4D-4256-BFCD-293C86C11368}" type="pres">
      <dgm:prSet presAssocID="{DDAD9549-51AC-4852-8D1F-7853EE254EAB}" presName="hierChild4" presStyleCnt="0"/>
      <dgm:spPr/>
    </dgm:pt>
    <dgm:pt modelId="{7322A613-0704-460A-A42A-D682B2D8407D}" type="pres">
      <dgm:prSet presAssocID="{DDAD9549-51AC-4852-8D1F-7853EE254EAB}" presName="hierChild5" presStyleCnt="0"/>
      <dgm:spPr/>
    </dgm:pt>
    <dgm:pt modelId="{EBDEDD73-1A0D-448D-87EC-AF798632099F}" type="pres">
      <dgm:prSet presAssocID="{65A34516-2507-40EF-8E38-D5D5269E852E}" presName="Name37" presStyleLbl="parChTrans1D2" presStyleIdx="3" presStyleCnt="7" custSzX="857904" custSzY="306613"/>
      <dgm:spPr/>
    </dgm:pt>
    <dgm:pt modelId="{C82B6449-FC96-4809-891D-3F77115F2A6E}" type="pres">
      <dgm:prSet presAssocID="{3BD6BDA0-26C3-403D-88CB-AA822E74B732}" presName="hierRoot2" presStyleCnt="0">
        <dgm:presLayoutVars>
          <dgm:hierBranch val="init"/>
        </dgm:presLayoutVars>
      </dgm:prSet>
      <dgm:spPr/>
    </dgm:pt>
    <dgm:pt modelId="{D4CF06AD-AC28-4337-8DC4-C77F82AF429A}" type="pres">
      <dgm:prSet presAssocID="{3BD6BDA0-26C3-403D-88CB-AA822E74B732}" presName="rootComposite" presStyleCnt="0"/>
      <dgm:spPr/>
    </dgm:pt>
    <dgm:pt modelId="{609EB9A4-2680-422B-ADA3-4CA28FF595B7}" type="pres">
      <dgm:prSet presAssocID="{3BD6BDA0-26C3-403D-88CB-AA822E74B732}" presName="rootText" presStyleLbl="node2" presStyleIdx="3" presStyleCnt="7" custScaleX="224472" custScaleY="263868">
        <dgm:presLayoutVars>
          <dgm:chPref val="3"/>
        </dgm:presLayoutVars>
      </dgm:prSet>
      <dgm:spPr/>
    </dgm:pt>
    <dgm:pt modelId="{6A578C9B-36DC-47B6-B550-4B2973A0AD3E}" type="pres">
      <dgm:prSet presAssocID="{3BD6BDA0-26C3-403D-88CB-AA822E74B732}" presName="rootConnector" presStyleLbl="node2" presStyleIdx="3" presStyleCnt="7"/>
      <dgm:spPr/>
    </dgm:pt>
    <dgm:pt modelId="{AD9A910C-E527-4DA9-9196-9F0784AF9A03}" type="pres">
      <dgm:prSet presAssocID="{3BD6BDA0-26C3-403D-88CB-AA822E74B732}" presName="hierChild4" presStyleCnt="0"/>
      <dgm:spPr/>
    </dgm:pt>
    <dgm:pt modelId="{CB6FB5E4-D783-4232-B545-77163E1752CE}" type="pres">
      <dgm:prSet presAssocID="{3BD6BDA0-26C3-403D-88CB-AA822E74B732}" presName="hierChild5" presStyleCnt="0"/>
      <dgm:spPr/>
    </dgm:pt>
    <dgm:pt modelId="{E5B64A66-98C3-4BB7-B533-49BBD6320137}" type="pres">
      <dgm:prSet presAssocID="{2C8BBE09-D937-4AF8-B69B-DA9CA12F6B02}" presName="Name37" presStyleLbl="parChTrans1D2" presStyleIdx="4" presStyleCnt="7" custSzX="857904" custSzY="306613"/>
      <dgm:spPr/>
    </dgm:pt>
    <dgm:pt modelId="{C9AC80DA-5C67-471C-A517-09C56065513F}" type="pres">
      <dgm:prSet presAssocID="{356BB6D9-A53C-40AA-9340-A57AFC579674}" presName="hierRoot2" presStyleCnt="0">
        <dgm:presLayoutVars>
          <dgm:hierBranch val="init"/>
        </dgm:presLayoutVars>
      </dgm:prSet>
      <dgm:spPr/>
    </dgm:pt>
    <dgm:pt modelId="{5750CD8B-3CA9-4453-A7EE-8F1E255127A6}" type="pres">
      <dgm:prSet presAssocID="{356BB6D9-A53C-40AA-9340-A57AFC579674}" presName="rootComposite" presStyleCnt="0"/>
      <dgm:spPr/>
    </dgm:pt>
    <dgm:pt modelId="{8A836A0C-FAC7-4158-B0FF-92C12F5D70AB}" type="pres">
      <dgm:prSet presAssocID="{356BB6D9-A53C-40AA-9340-A57AFC579674}" presName="rootText" presStyleLbl="node2" presStyleIdx="4" presStyleCnt="7" custScaleX="224472" custScaleY="263868">
        <dgm:presLayoutVars>
          <dgm:chPref val="3"/>
        </dgm:presLayoutVars>
      </dgm:prSet>
      <dgm:spPr/>
    </dgm:pt>
    <dgm:pt modelId="{A746DBFA-FF7B-450A-9600-1DCEA1D74B2C}" type="pres">
      <dgm:prSet presAssocID="{356BB6D9-A53C-40AA-9340-A57AFC579674}" presName="rootConnector" presStyleLbl="node2" presStyleIdx="4" presStyleCnt="7"/>
      <dgm:spPr/>
    </dgm:pt>
    <dgm:pt modelId="{D6908B42-389D-4B5A-BA13-88E673F4D8AC}" type="pres">
      <dgm:prSet presAssocID="{356BB6D9-A53C-40AA-9340-A57AFC579674}" presName="hierChild4" presStyleCnt="0"/>
      <dgm:spPr/>
    </dgm:pt>
    <dgm:pt modelId="{6FC657D7-A26A-4CF7-8A36-60820E479DED}" type="pres">
      <dgm:prSet presAssocID="{356BB6D9-A53C-40AA-9340-A57AFC579674}" presName="hierChild5" presStyleCnt="0"/>
      <dgm:spPr/>
    </dgm:pt>
    <dgm:pt modelId="{0D5A4952-58DB-4379-A0FF-9CF9AA8B30A9}" type="pres">
      <dgm:prSet presAssocID="{78879A09-8796-42CA-8554-7D4602B98BE0}" presName="Name37" presStyleLbl="parChTrans1D2" presStyleIdx="5" presStyleCnt="7" custSzX="2573714" custSzY="306613"/>
      <dgm:spPr/>
    </dgm:pt>
    <dgm:pt modelId="{D2909641-ED8A-4F63-8E22-D0C2F560868D}" type="pres">
      <dgm:prSet presAssocID="{4CBA4916-03C1-4A6B-AF7E-954DE1AB4700}" presName="hierRoot2" presStyleCnt="0">
        <dgm:presLayoutVars>
          <dgm:hierBranch val="init"/>
        </dgm:presLayoutVars>
      </dgm:prSet>
      <dgm:spPr/>
    </dgm:pt>
    <dgm:pt modelId="{8747B277-287C-4F96-AAF1-71B5A44990BB}" type="pres">
      <dgm:prSet presAssocID="{4CBA4916-03C1-4A6B-AF7E-954DE1AB4700}" presName="rootComposite" presStyleCnt="0"/>
      <dgm:spPr/>
    </dgm:pt>
    <dgm:pt modelId="{6E21471F-70DD-425A-96EB-D138019D0017}" type="pres">
      <dgm:prSet presAssocID="{4CBA4916-03C1-4A6B-AF7E-954DE1AB4700}" presName="rootText" presStyleLbl="node2" presStyleIdx="5" presStyleCnt="7" custScaleX="224472" custScaleY="263868">
        <dgm:presLayoutVars>
          <dgm:chPref val="3"/>
        </dgm:presLayoutVars>
      </dgm:prSet>
      <dgm:spPr/>
    </dgm:pt>
    <dgm:pt modelId="{4434DAB3-9F54-4E34-870E-DE4B9CBDF485}" type="pres">
      <dgm:prSet presAssocID="{4CBA4916-03C1-4A6B-AF7E-954DE1AB4700}" presName="rootConnector" presStyleLbl="node2" presStyleIdx="5" presStyleCnt="7"/>
      <dgm:spPr/>
    </dgm:pt>
    <dgm:pt modelId="{6D49527A-6F9D-48D3-82C3-4CC6BEAC2FC9}" type="pres">
      <dgm:prSet presAssocID="{4CBA4916-03C1-4A6B-AF7E-954DE1AB4700}" presName="hierChild4" presStyleCnt="0"/>
      <dgm:spPr/>
    </dgm:pt>
    <dgm:pt modelId="{25160CDE-B463-4E43-B76B-D9F74A3CA323}" type="pres">
      <dgm:prSet presAssocID="{4CBA4916-03C1-4A6B-AF7E-954DE1AB4700}" presName="hierChild5" presStyleCnt="0"/>
      <dgm:spPr/>
    </dgm:pt>
    <dgm:pt modelId="{AC7F4E16-96FE-497B-BF0B-5656787227AF}" type="pres">
      <dgm:prSet presAssocID="{C117095E-5E26-4FE9-A2E8-EA1C4CC44EEB}" presName="Name37" presStyleLbl="parChTrans1D2" presStyleIdx="6" presStyleCnt="7" custSzX="2573714" custSzY="306613"/>
      <dgm:spPr/>
    </dgm:pt>
    <dgm:pt modelId="{42C95E19-B713-4536-A9E9-4D1F73338EC0}" type="pres">
      <dgm:prSet presAssocID="{264BE61B-92A3-4AD0-8A98-24C10B153985}" presName="hierRoot2" presStyleCnt="0">
        <dgm:presLayoutVars>
          <dgm:hierBranch val="init"/>
        </dgm:presLayoutVars>
      </dgm:prSet>
      <dgm:spPr/>
    </dgm:pt>
    <dgm:pt modelId="{224C3B0F-328C-4178-8DFB-86B7659781F0}" type="pres">
      <dgm:prSet presAssocID="{264BE61B-92A3-4AD0-8A98-24C10B153985}" presName="rootComposite" presStyleCnt="0"/>
      <dgm:spPr/>
    </dgm:pt>
    <dgm:pt modelId="{ABA442A2-AB17-4DFA-A6A0-AF866B22BE45}" type="pres">
      <dgm:prSet presAssocID="{264BE61B-92A3-4AD0-8A98-24C10B153985}" presName="rootText" presStyleLbl="node2" presStyleIdx="6" presStyleCnt="7" custScaleX="224472" custScaleY="263868">
        <dgm:presLayoutVars>
          <dgm:chPref val="3"/>
        </dgm:presLayoutVars>
      </dgm:prSet>
      <dgm:spPr/>
    </dgm:pt>
    <dgm:pt modelId="{7374C554-11B3-48EB-9740-621AA1D8993C}" type="pres">
      <dgm:prSet presAssocID="{264BE61B-92A3-4AD0-8A98-24C10B153985}" presName="rootConnector" presStyleLbl="node2" presStyleIdx="6" presStyleCnt="7"/>
      <dgm:spPr/>
    </dgm:pt>
    <dgm:pt modelId="{71AA5CDD-7E62-4184-B1AA-3B2AE5CCE5F2}" type="pres">
      <dgm:prSet presAssocID="{264BE61B-92A3-4AD0-8A98-24C10B153985}" presName="hierChild4" presStyleCnt="0"/>
      <dgm:spPr/>
    </dgm:pt>
    <dgm:pt modelId="{54C945F0-A591-43CB-B9B5-990E23C4DEC4}" type="pres">
      <dgm:prSet presAssocID="{264BE61B-92A3-4AD0-8A98-24C10B153985}" presName="hierChild5" presStyleCnt="0"/>
      <dgm:spPr/>
    </dgm:pt>
    <dgm:pt modelId="{393210D2-D629-4CE1-A3A4-675C9384F18A}" type="pres">
      <dgm:prSet presAssocID="{3A6AA12D-C2E9-4BD8-BD2C-3FE7294AFEB9}" presName="hierChild3" presStyleCnt="0"/>
      <dgm:spPr/>
    </dgm:pt>
  </dgm:ptLst>
  <dgm:cxnLst>
    <dgm:cxn modelId="{A3C2930D-A995-4A13-B150-06E24AD2829B}" type="presOf" srcId="{DDAD9549-51AC-4852-8D1F-7853EE254EAB}" destId="{CB31C50E-0282-4D4F-B0CC-4E9722E2149F}" srcOrd="0" destOrd="0" presId="urn:microsoft.com/office/officeart/2005/8/layout/orgChart1"/>
    <dgm:cxn modelId="{B4E7DB18-52DD-4DFE-8AFF-C229CF58B7D7}" type="presOf" srcId="{4CBA4916-03C1-4A6B-AF7E-954DE1AB4700}" destId="{4434DAB3-9F54-4E34-870E-DE4B9CBDF485}" srcOrd="1" destOrd="0" presId="urn:microsoft.com/office/officeart/2005/8/layout/orgChart1"/>
    <dgm:cxn modelId="{62883920-89A2-4BE4-8F42-A58C851505DE}" type="presOf" srcId="{264BE61B-92A3-4AD0-8A98-24C10B153985}" destId="{ABA442A2-AB17-4DFA-A6A0-AF866B22BE45}" srcOrd="0" destOrd="0" presId="urn:microsoft.com/office/officeart/2005/8/layout/orgChart1"/>
    <dgm:cxn modelId="{9D023827-73D4-4F3E-86D4-86A7255FA673}" type="presOf" srcId="{356BB6D9-A53C-40AA-9340-A57AFC579674}" destId="{8A836A0C-FAC7-4158-B0FF-92C12F5D70AB}" srcOrd="0" destOrd="0" presId="urn:microsoft.com/office/officeart/2005/8/layout/orgChart1"/>
    <dgm:cxn modelId="{4A065327-F67C-478E-8018-E87F817897E3}" type="presOf" srcId="{65A34516-2507-40EF-8E38-D5D5269E852E}" destId="{EBDEDD73-1A0D-448D-87EC-AF798632099F}" srcOrd="0" destOrd="0" presId="urn:microsoft.com/office/officeart/2005/8/layout/orgChart1"/>
    <dgm:cxn modelId="{E184953C-0694-4CD0-8632-E1BD3BAD7A6B}" type="presOf" srcId="{DDAD9549-51AC-4852-8D1F-7853EE254EAB}" destId="{5BE1293F-E52E-4364-815E-BA964B2E313E}" srcOrd="1" destOrd="0" presId="urn:microsoft.com/office/officeart/2005/8/layout/orgChart1"/>
    <dgm:cxn modelId="{F032C83C-2CDE-4DF1-A8DC-B85E12986189}" type="presOf" srcId="{3A6AA12D-C2E9-4BD8-BD2C-3FE7294AFEB9}" destId="{3DD70376-3E3F-43E1-B2C6-956970C172ED}" srcOrd="0" destOrd="0" presId="urn:microsoft.com/office/officeart/2005/8/layout/orgChart1"/>
    <dgm:cxn modelId="{A3F7D13C-4D29-4266-9044-E2412572E380}" srcId="{3A6AA12D-C2E9-4BD8-BD2C-3FE7294AFEB9}" destId="{264BE61B-92A3-4AD0-8A98-24C10B153985}" srcOrd="6" destOrd="0" parTransId="{C117095E-5E26-4FE9-A2E8-EA1C4CC44EEB}" sibTransId="{6FF6C917-CB46-40CE-B03F-5DBDA20649EB}"/>
    <dgm:cxn modelId="{9FC21D5B-06BC-49E5-8C4E-F480E835FE0A}" srcId="{3A6AA12D-C2E9-4BD8-BD2C-3FE7294AFEB9}" destId="{3BD6BDA0-26C3-403D-88CB-AA822E74B732}" srcOrd="3" destOrd="0" parTransId="{65A34516-2507-40EF-8E38-D5D5269E852E}" sibTransId="{875E4EA7-E344-4050-AAC7-9D78DAA4E1B4}"/>
    <dgm:cxn modelId="{2A57BB48-EEA3-4D82-82C5-A5CCD73690B9}" type="presOf" srcId="{4CBA4916-03C1-4A6B-AF7E-954DE1AB4700}" destId="{6E21471F-70DD-425A-96EB-D138019D0017}" srcOrd="0" destOrd="0" presId="urn:microsoft.com/office/officeart/2005/8/layout/orgChart1"/>
    <dgm:cxn modelId="{06EAE96A-939C-4E13-8405-E08EE8AA498F}" type="presOf" srcId="{9FB97EE0-DCD5-4156-8D38-FCFF580D44FD}" destId="{2D7AE81F-8C7C-4CA7-9284-3B78B04D4886}" srcOrd="1" destOrd="0" presId="urn:microsoft.com/office/officeart/2005/8/layout/orgChart1"/>
    <dgm:cxn modelId="{DF6C7C4B-810F-4B4F-8577-277D98D6FA11}" srcId="{3A6AA12D-C2E9-4BD8-BD2C-3FE7294AFEB9}" destId="{9FB97EE0-DCD5-4156-8D38-FCFF580D44FD}" srcOrd="0" destOrd="0" parTransId="{FF1888FE-33B9-4643-AE7A-09A40E256103}" sibTransId="{58FFF5EC-3E90-4DDD-A670-28424277750F}"/>
    <dgm:cxn modelId="{D8D3036D-63BE-483E-B0AF-FD04F63D2A49}" type="presOf" srcId="{3A6AA12D-C2E9-4BD8-BD2C-3FE7294AFEB9}" destId="{9AB5A911-E489-48AE-B687-7440697238B3}" srcOrd="1" destOrd="0" presId="urn:microsoft.com/office/officeart/2005/8/layout/orgChart1"/>
    <dgm:cxn modelId="{D9250A6D-5BAB-4CFE-A162-D8794785B445}" type="presOf" srcId="{C117095E-5E26-4FE9-A2E8-EA1C4CC44EEB}" destId="{AC7F4E16-96FE-497B-BF0B-5656787227AF}" srcOrd="0" destOrd="0" presId="urn:microsoft.com/office/officeart/2005/8/layout/orgChart1"/>
    <dgm:cxn modelId="{7D163A4F-193A-4940-A8BA-4CE1BE9E84D8}" type="presOf" srcId="{FF1888FE-33B9-4643-AE7A-09A40E256103}" destId="{1F1BF832-7D6F-4314-8A20-B77ADD6E09FD}" srcOrd="0" destOrd="0" presId="urn:microsoft.com/office/officeart/2005/8/layout/orgChart1"/>
    <dgm:cxn modelId="{35F84B56-B58F-42F6-8D42-4E794C0A3AEE}" type="presOf" srcId="{3BD6BDA0-26C3-403D-88CB-AA822E74B732}" destId="{609EB9A4-2680-422B-ADA3-4CA28FF595B7}" srcOrd="0" destOrd="0" presId="urn:microsoft.com/office/officeart/2005/8/layout/orgChart1"/>
    <dgm:cxn modelId="{E5C03097-8C23-405D-8CB3-ED598E296DC3}" srcId="{3A6AA12D-C2E9-4BD8-BD2C-3FE7294AFEB9}" destId="{4CBA4916-03C1-4A6B-AF7E-954DE1AB4700}" srcOrd="5" destOrd="0" parTransId="{78879A09-8796-42CA-8554-7D4602B98BE0}" sibTransId="{D1522DCD-FAB1-4478-862F-3D1E39FDE66C}"/>
    <dgm:cxn modelId="{DFEFC1A0-1FC4-4E95-B9C9-0F449C95655C}" type="presOf" srcId="{D3D0C99A-1A2F-48B9-92A7-B5D699B81BB4}" destId="{766BDE4F-B05F-4DE9-9297-2C646DE2E6AF}" srcOrd="0" destOrd="0" presId="urn:microsoft.com/office/officeart/2005/8/layout/orgChart1"/>
    <dgm:cxn modelId="{64AF36A2-FAAE-4A6F-8408-0DAA70EF67D3}" srcId="{D0A0F61B-4303-4677-84F2-61B7E1A91C18}" destId="{3A6AA12D-C2E9-4BD8-BD2C-3FE7294AFEB9}" srcOrd="0" destOrd="0" parTransId="{CB68BD35-2E0D-48E5-8A70-3DF166BD3AE0}" sibTransId="{279954E4-66B2-4DF1-BBD5-CB4E7B281C1D}"/>
    <dgm:cxn modelId="{B7DD91A3-CCE7-4CB4-B37C-53FDDC6BA836}" type="presOf" srcId="{2C8BBE09-D937-4AF8-B69B-DA9CA12F6B02}" destId="{E5B64A66-98C3-4BB7-B533-49BBD6320137}" srcOrd="0" destOrd="0" presId="urn:microsoft.com/office/officeart/2005/8/layout/orgChart1"/>
    <dgm:cxn modelId="{66931EAC-E36B-4C7E-B667-75F915330C0D}" srcId="{3A6AA12D-C2E9-4BD8-BD2C-3FE7294AFEB9}" destId="{DDAD9549-51AC-4852-8D1F-7853EE254EAB}" srcOrd="2" destOrd="0" parTransId="{D3D0C99A-1A2F-48B9-92A7-B5D699B81BB4}" sibTransId="{4D69A56D-7A7B-4814-81BC-D8408374810F}"/>
    <dgm:cxn modelId="{11A413AD-5B67-4931-87CE-EF433FEA3739}" srcId="{3A6AA12D-C2E9-4BD8-BD2C-3FE7294AFEB9}" destId="{356BB6D9-A53C-40AA-9340-A57AFC579674}" srcOrd="4" destOrd="0" parTransId="{2C8BBE09-D937-4AF8-B69B-DA9CA12F6B02}" sibTransId="{2321DCB6-A69E-4DF4-BE16-88C5FCCE48DC}"/>
    <dgm:cxn modelId="{A464E7B9-0D77-4D52-BEF7-9D604FF3DC08}" type="presOf" srcId="{9FB97EE0-DCD5-4156-8D38-FCFF580D44FD}" destId="{BCA0F817-645B-4DF6-B98A-68FC4A66FB72}" srcOrd="0" destOrd="0" presId="urn:microsoft.com/office/officeart/2005/8/layout/orgChart1"/>
    <dgm:cxn modelId="{D4EFCBBC-F070-4F79-A9F1-362C22BB94FE}" type="presOf" srcId="{B6DB7651-7D81-4F5E-A74E-1CE9D132FFA1}" destId="{919252C1-5E8F-4C1E-8B07-9019D6B598DF}" srcOrd="0" destOrd="0" presId="urn:microsoft.com/office/officeart/2005/8/layout/orgChart1"/>
    <dgm:cxn modelId="{28AD6DC2-7F70-4CF1-BE69-A0B726F63C93}" type="presOf" srcId="{B6DB7651-7D81-4F5E-A74E-1CE9D132FFA1}" destId="{B05F8344-AFEA-433E-AB6E-DA6446A9FBE1}" srcOrd="1" destOrd="0" presId="urn:microsoft.com/office/officeart/2005/8/layout/orgChart1"/>
    <dgm:cxn modelId="{9AD0BDD7-F197-4817-B06F-E9BE49EF1F01}" type="presOf" srcId="{264BE61B-92A3-4AD0-8A98-24C10B153985}" destId="{7374C554-11B3-48EB-9740-621AA1D8993C}" srcOrd="1" destOrd="0" presId="urn:microsoft.com/office/officeart/2005/8/layout/orgChart1"/>
    <dgm:cxn modelId="{408FDCD7-6D9B-4919-8D87-FEE836EC6689}" type="presOf" srcId="{3BD6BDA0-26C3-403D-88CB-AA822E74B732}" destId="{6A578C9B-36DC-47B6-B550-4B2973A0AD3E}" srcOrd="1" destOrd="0" presId="urn:microsoft.com/office/officeart/2005/8/layout/orgChart1"/>
    <dgm:cxn modelId="{4A4D75DE-8916-4725-9070-945E3EED449F}" type="presOf" srcId="{62C9F470-4316-48F8-8263-FB85C0AF66D0}" destId="{C18E588E-D810-43F6-B8D0-371D7DDA551F}" srcOrd="0" destOrd="0" presId="urn:microsoft.com/office/officeart/2005/8/layout/orgChart1"/>
    <dgm:cxn modelId="{D6DD01DF-9AA7-4FCC-9B56-5694F179575B}" type="presOf" srcId="{356BB6D9-A53C-40AA-9340-A57AFC579674}" destId="{A746DBFA-FF7B-450A-9600-1DCEA1D74B2C}" srcOrd="1" destOrd="0" presId="urn:microsoft.com/office/officeart/2005/8/layout/orgChart1"/>
    <dgm:cxn modelId="{B62A91E6-1B1E-4C73-880C-82235C311D16}" type="presOf" srcId="{D0A0F61B-4303-4677-84F2-61B7E1A91C18}" destId="{CB5D569C-B44B-4308-B27F-633455E5871F}" srcOrd="0" destOrd="0" presId="urn:microsoft.com/office/officeart/2005/8/layout/orgChart1"/>
    <dgm:cxn modelId="{D8771FEA-5C29-4C98-9410-A0D7FBC06628}" type="presOf" srcId="{78879A09-8796-42CA-8554-7D4602B98BE0}" destId="{0D5A4952-58DB-4379-A0FF-9CF9AA8B30A9}" srcOrd="0" destOrd="0" presId="urn:microsoft.com/office/officeart/2005/8/layout/orgChart1"/>
    <dgm:cxn modelId="{41CA94F0-5A8E-4ACB-8F43-2EE3CFC41C3F}" srcId="{3A6AA12D-C2E9-4BD8-BD2C-3FE7294AFEB9}" destId="{B6DB7651-7D81-4F5E-A74E-1CE9D132FFA1}" srcOrd="1" destOrd="0" parTransId="{62C9F470-4316-48F8-8263-FB85C0AF66D0}" sibTransId="{DB3F6F20-C891-487A-A115-B4C419FAC740}"/>
    <dgm:cxn modelId="{29057BAA-5C17-4DE3-9C01-9B8EEED7853B}" type="presParOf" srcId="{CB5D569C-B44B-4308-B27F-633455E5871F}" destId="{AB795A0E-3C7B-47E3-BC47-3534A54F9190}" srcOrd="0" destOrd="0" presId="urn:microsoft.com/office/officeart/2005/8/layout/orgChart1"/>
    <dgm:cxn modelId="{C071476A-4F93-452C-84C5-CEDF2FDC26FF}" type="presParOf" srcId="{AB795A0E-3C7B-47E3-BC47-3534A54F9190}" destId="{6AEEC0CB-D732-40ED-98C7-E88C954633C1}" srcOrd="0" destOrd="0" presId="urn:microsoft.com/office/officeart/2005/8/layout/orgChart1"/>
    <dgm:cxn modelId="{11A92872-9377-4006-B8FD-92DA524FCEE7}" type="presParOf" srcId="{6AEEC0CB-D732-40ED-98C7-E88C954633C1}" destId="{3DD70376-3E3F-43E1-B2C6-956970C172ED}" srcOrd="0" destOrd="0" presId="urn:microsoft.com/office/officeart/2005/8/layout/orgChart1"/>
    <dgm:cxn modelId="{91B5E2C8-7E72-4421-8A35-E14AC12CF3EC}" type="presParOf" srcId="{6AEEC0CB-D732-40ED-98C7-E88C954633C1}" destId="{9AB5A911-E489-48AE-B687-7440697238B3}" srcOrd="1" destOrd="0" presId="urn:microsoft.com/office/officeart/2005/8/layout/orgChart1"/>
    <dgm:cxn modelId="{C5F08D8F-789B-4E80-A953-2ED5DEC31E22}" type="presParOf" srcId="{AB795A0E-3C7B-47E3-BC47-3534A54F9190}" destId="{E404BA80-6E0F-4C3E-BC06-4E7117DCF3CE}" srcOrd="1" destOrd="0" presId="urn:microsoft.com/office/officeart/2005/8/layout/orgChart1"/>
    <dgm:cxn modelId="{6B52E496-B737-438F-A448-92E267587A43}" type="presParOf" srcId="{E404BA80-6E0F-4C3E-BC06-4E7117DCF3CE}" destId="{1F1BF832-7D6F-4314-8A20-B77ADD6E09FD}" srcOrd="0" destOrd="0" presId="urn:microsoft.com/office/officeart/2005/8/layout/orgChart1"/>
    <dgm:cxn modelId="{DF652E7C-B1F4-4BA6-BFA7-831FDB1A5BDD}" type="presParOf" srcId="{E404BA80-6E0F-4C3E-BC06-4E7117DCF3CE}" destId="{338F5E53-0455-48EE-ABDF-BFB85DD1E3B8}" srcOrd="1" destOrd="0" presId="urn:microsoft.com/office/officeart/2005/8/layout/orgChart1"/>
    <dgm:cxn modelId="{EB88FCCF-D344-4887-A84B-6FD3AAD27261}" type="presParOf" srcId="{338F5E53-0455-48EE-ABDF-BFB85DD1E3B8}" destId="{3AFE5463-745F-4692-AF4E-CB50EC31BE95}" srcOrd="0" destOrd="0" presId="urn:microsoft.com/office/officeart/2005/8/layout/orgChart1"/>
    <dgm:cxn modelId="{AABC9751-8E32-4104-B8FA-496731470BCC}" type="presParOf" srcId="{3AFE5463-745F-4692-AF4E-CB50EC31BE95}" destId="{BCA0F817-645B-4DF6-B98A-68FC4A66FB72}" srcOrd="0" destOrd="0" presId="urn:microsoft.com/office/officeart/2005/8/layout/orgChart1"/>
    <dgm:cxn modelId="{557A0A2D-732F-4AD9-8689-4042F6FF663D}" type="presParOf" srcId="{3AFE5463-745F-4692-AF4E-CB50EC31BE95}" destId="{2D7AE81F-8C7C-4CA7-9284-3B78B04D4886}" srcOrd="1" destOrd="0" presId="urn:microsoft.com/office/officeart/2005/8/layout/orgChart1"/>
    <dgm:cxn modelId="{3E9C56F5-87AD-4451-8A60-DE19E58F1CC1}" type="presParOf" srcId="{338F5E53-0455-48EE-ABDF-BFB85DD1E3B8}" destId="{57B634ED-9877-4988-A910-1E72805200C1}" srcOrd="1" destOrd="0" presId="urn:microsoft.com/office/officeart/2005/8/layout/orgChart1"/>
    <dgm:cxn modelId="{92845914-1825-46B9-8693-EDA94F8DAA46}" type="presParOf" srcId="{338F5E53-0455-48EE-ABDF-BFB85DD1E3B8}" destId="{33976D44-C62D-46BD-99B9-28ACEAC7D476}" srcOrd="2" destOrd="0" presId="urn:microsoft.com/office/officeart/2005/8/layout/orgChart1"/>
    <dgm:cxn modelId="{6FC688F4-DA59-404B-82C2-93352CA80F1D}" type="presParOf" srcId="{E404BA80-6E0F-4C3E-BC06-4E7117DCF3CE}" destId="{C18E588E-D810-43F6-B8D0-371D7DDA551F}" srcOrd="2" destOrd="0" presId="urn:microsoft.com/office/officeart/2005/8/layout/orgChart1"/>
    <dgm:cxn modelId="{F9DA5115-2867-4260-8456-2D42F0F43FE6}" type="presParOf" srcId="{E404BA80-6E0F-4C3E-BC06-4E7117DCF3CE}" destId="{84EB36B9-62D1-4B5C-A597-7F19B7690CBB}" srcOrd="3" destOrd="0" presId="urn:microsoft.com/office/officeart/2005/8/layout/orgChart1"/>
    <dgm:cxn modelId="{3E6B6D14-C6B1-4C5C-BD39-573E8A8B9E05}" type="presParOf" srcId="{84EB36B9-62D1-4B5C-A597-7F19B7690CBB}" destId="{FF286CB8-4EF0-4920-A52C-FE142401368E}" srcOrd="0" destOrd="0" presId="urn:microsoft.com/office/officeart/2005/8/layout/orgChart1"/>
    <dgm:cxn modelId="{31A182DD-6D2A-4A12-8C47-956FA0DCB4E1}" type="presParOf" srcId="{FF286CB8-4EF0-4920-A52C-FE142401368E}" destId="{919252C1-5E8F-4C1E-8B07-9019D6B598DF}" srcOrd="0" destOrd="0" presId="urn:microsoft.com/office/officeart/2005/8/layout/orgChart1"/>
    <dgm:cxn modelId="{C2B74B97-2AE3-4A4E-90CB-CB83D81F4791}" type="presParOf" srcId="{FF286CB8-4EF0-4920-A52C-FE142401368E}" destId="{B05F8344-AFEA-433E-AB6E-DA6446A9FBE1}" srcOrd="1" destOrd="0" presId="urn:microsoft.com/office/officeart/2005/8/layout/orgChart1"/>
    <dgm:cxn modelId="{F5D335B5-B479-4E14-921B-AAE19D972589}" type="presParOf" srcId="{84EB36B9-62D1-4B5C-A597-7F19B7690CBB}" destId="{D6EB8568-0C1F-45AB-B966-8E98CC819E16}" srcOrd="1" destOrd="0" presId="urn:microsoft.com/office/officeart/2005/8/layout/orgChart1"/>
    <dgm:cxn modelId="{850463DC-01D9-4C3B-AA4E-789EA866B1ED}" type="presParOf" srcId="{84EB36B9-62D1-4B5C-A597-7F19B7690CBB}" destId="{B7191E19-DD2A-4BAB-A4A6-36528F9B308C}" srcOrd="2" destOrd="0" presId="urn:microsoft.com/office/officeart/2005/8/layout/orgChart1"/>
    <dgm:cxn modelId="{6935BBB6-629E-4BC9-A59C-6F66DF7DBDF5}" type="presParOf" srcId="{E404BA80-6E0F-4C3E-BC06-4E7117DCF3CE}" destId="{766BDE4F-B05F-4DE9-9297-2C646DE2E6AF}" srcOrd="4" destOrd="0" presId="urn:microsoft.com/office/officeart/2005/8/layout/orgChart1"/>
    <dgm:cxn modelId="{C907E441-1B42-406F-B9AA-A926EF6CF8E7}" type="presParOf" srcId="{E404BA80-6E0F-4C3E-BC06-4E7117DCF3CE}" destId="{1CBB0A5B-52FA-4FDC-A7F6-04043CF6D315}" srcOrd="5" destOrd="0" presId="urn:microsoft.com/office/officeart/2005/8/layout/orgChart1"/>
    <dgm:cxn modelId="{9E33E51E-D96A-43C8-9668-93F102F6850F}" type="presParOf" srcId="{1CBB0A5B-52FA-4FDC-A7F6-04043CF6D315}" destId="{59E27656-95E6-4F48-866C-8989D63D5D9B}" srcOrd="0" destOrd="0" presId="urn:microsoft.com/office/officeart/2005/8/layout/orgChart1"/>
    <dgm:cxn modelId="{EB9FA229-154A-4237-8874-8193BD77356C}" type="presParOf" srcId="{59E27656-95E6-4F48-866C-8989D63D5D9B}" destId="{CB31C50E-0282-4D4F-B0CC-4E9722E2149F}" srcOrd="0" destOrd="0" presId="urn:microsoft.com/office/officeart/2005/8/layout/orgChart1"/>
    <dgm:cxn modelId="{EA36CBFE-0902-4C45-BFE5-A5AA52682529}" type="presParOf" srcId="{59E27656-95E6-4F48-866C-8989D63D5D9B}" destId="{5BE1293F-E52E-4364-815E-BA964B2E313E}" srcOrd="1" destOrd="0" presId="urn:microsoft.com/office/officeart/2005/8/layout/orgChart1"/>
    <dgm:cxn modelId="{B78C26ED-8C00-4DBF-A657-4C51C8C8D354}" type="presParOf" srcId="{1CBB0A5B-52FA-4FDC-A7F6-04043CF6D315}" destId="{4DF886EB-5C4D-4256-BFCD-293C86C11368}" srcOrd="1" destOrd="0" presId="urn:microsoft.com/office/officeart/2005/8/layout/orgChart1"/>
    <dgm:cxn modelId="{2F32B33E-83F7-4C42-A5E2-1BECA668C468}" type="presParOf" srcId="{1CBB0A5B-52FA-4FDC-A7F6-04043CF6D315}" destId="{7322A613-0704-460A-A42A-D682B2D8407D}" srcOrd="2" destOrd="0" presId="urn:microsoft.com/office/officeart/2005/8/layout/orgChart1"/>
    <dgm:cxn modelId="{B5E89264-3B83-4C7C-8693-DE619F9601E8}" type="presParOf" srcId="{E404BA80-6E0F-4C3E-BC06-4E7117DCF3CE}" destId="{EBDEDD73-1A0D-448D-87EC-AF798632099F}" srcOrd="6" destOrd="0" presId="urn:microsoft.com/office/officeart/2005/8/layout/orgChart1"/>
    <dgm:cxn modelId="{8A220EB8-8CAD-41CA-A070-7080B8223DA0}" type="presParOf" srcId="{E404BA80-6E0F-4C3E-BC06-4E7117DCF3CE}" destId="{C82B6449-FC96-4809-891D-3F77115F2A6E}" srcOrd="7" destOrd="0" presId="urn:microsoft.com/office/officeart/2005/8/layout/orgChart1"/>
    <dgm:cxn modelId="{18C5BD65-3C20-4BAA-B544-FDBC08E6973E}" type="presParOf" srcId="{C82B6449-FC96-4809-891D-3F77115F2A6E}" destId="{D4CF06AD-AC28-4337-8DC4-C77F82AF429A}" srcOrd="0" destOrd="0" presId="urn:microsoft.com/office/officeart/2005/8/layout/orgChart1"/>
    <dgm:cxn modelId="{7371F6D0-E394-47B9-AA15-BC400041C169}" type="presParOf" srcId="{D4CF06AD-AC28-4337-8DC4-C77F82AF429A}" destId="{609EB9A4-2680-422B-ADA3-4CA28FF595B7}" srcOrd="0" destOrd="0" presId="urn:microsoft.com/office/officeart/2005/8/layout/orgChart1"/>
    <dgm:cxn modelId="{4F8F640D-899F-458F-B9B6-FDBB74BF4352}" type="presParOf" srcId="{D4CF06AD-AC28-4337-8DC4-C77F82AF429A}" destId="{6A578C9B-36DC-47B6-B550-4B2973A0AD3E}" srcOrd="1" destOrd="0" presId="urn:microsoft.com/office/officeart/2005/8/layout/orgChart1"/>
    <dgm:cxn modelId="{698B292B-E260-40FA-9473-3E10F23CF7FD}" type="presParOf" srcId="{C82B6449-FC96-4809-891D-3F77115F2A6E}" destId="{AD9A910C-E527-4DA9-9196-9F0784AF9A03}" srcOrd="1" destOrd="0" presId="urn:microsoft.com/office/officeart/2005/8/layout/orgChart1"/>
    <dgm:cxn modelId="{838710EE-17E7-4CCB-99EA-7BD674627B5E}" type="presParOf" srcId="{C82B6449-FC96-4809-891D-3F77115F2A6E}" destId="{CB6FB5E4-D783-4232-B545-77163E1752CE}" srcOrd="2" destOrd="0" presId="urn:microsoft.com/office/officeart/2005/8/layout/orgChart1"/>
    <dgm:cxn modelId="{2F4CEABC-468E-45F7-B92F-C380C9893CE0}" type="presParOf" srcId="{E404BA80-6E0F-4C3E-BC06-4E7117DCF3CE}" destId="{E5B64A66-98C3-4BB7-B533-49BBD6320137}" srcOrd="8" destOrd="0" presId="urn:microsoft.com/office/officeart/2005/8/layout/orgChart1"/>
    <dgm:cxn modelId="{EB2F7685-3280-49D4-AA09-58AAE1F084E4}" type="presParOf" srcId="{E404BA80-6E0F-4C3E-BC06-4E7117DCF3CE}" destId="{C9AC80DA-5C67-471C-A517-09C56065513F}" srcOrd="9" destOrd="0" presId="urn:microsoft.com/office/officeart/2005/8/layout/orgChart1"/>
    <dgm:cxn modelId="{F4A2FE12-3F4D-4843-821D-F9DEB91D8BF0}" type="presParOf" srcId="{C9AC80DA-5C67-471C-A517-09C56065513F}" destId="{5750CD8B-3CA9-4453-A7EE-8F1E255127A6}" srcOrd="0" destOrd="0" presId="urn:microsoft.com/office/officeart/2005/8/layout/orgChart1"/>
    <dgm:cxn modelId="{AD079B31-DA43-46EE-B418-336CE2230B04}" type="presParOf" srcId="{5750CD8B-3CA9-4453-A7EE-8F1E255127A6}" destId="{8A836A0C-FAC7-4158-B0FF-92C12F5D70AB}" srcOrd="0" destOrd="0" presId="urn:microsoft.com/office/officeart/2005/8/layout/orgChart1"/>
    <dgm:cxn modelId="{0AF843CA-2DA0-416C-8AA9-6F8CC1D5D13E}" type="presParOf" srcId="{5750CD8B-3CA9-4453-A7EE-8F1E255127A6}" destId="{A746DBFA-FF7B-450A-9600-1DCEA1D74B2C}" srcOrd="1" destOrd="0" presId="urn:microsoft.com/office/officeart/2005/8/layout/orgChart1"/>
    <dgm:cxn modelId="{1561FB6D-80EB-44CF-82B8-9072CB60A1FA}" type="presParOf" srcId="{C9AC80DA-5C67-471C-A517-09C56065513F}" destId="{D6908B42-389D-4B5A-BA13-88E673F4D8AC}" srcOrd="1" destOrd="0" presId="urn:microsoft.com/office/officeart/2005/8/layout/orgChart1"/>
    <dgm:cxn modelId="{496E5F59-6298-43B6-8166-78249A6D221C}" type="presParOf" srcId="{C9AC80DA-5C67-471C-A517-09C56065513F}" destId="{6FC657D7-A26A-4CF7-8A36-60820E479DED}" srcOrd="2" destOrd="0" presId="urn:microsoft.com/office/officeart/2005/8/layout/orgChart1"/>
    <dgm:cxn modelId="{AB4EC589-91DF-499A-99A6-E83137963056}" type="presParOf" srcId="{E404BA80-6E0F-4C3E-BC06-4E7117DCF3CE}" destId="{0D5A4952-58DB-4379-A0FF-9CF9AA8B30A9}" srcOrd="10" destOrd="0" presId="urn:microsoft.com/office/officeart/2005/8/layout/orgChart1"/>
    <dgm:cxn modelId="{E349D361-169E-438F-A7B2-248483B91DB5}" type="presParOf" srcId="{E404BA80-6E0F-4C3E-BC06-4E7117DCF3CE}" destId="{D2909641-ED8A-4F63-8E22-D0C2F560868D}" srcOrd="11" destOrd="0" presId="urn:microsoft.com/office/officeart/2005/8/layout/orgChart1"/>
    <dgm:cxn modelId="{78E7B13E-8B62-4C15-8545-E4C8D4F17074}" type="presParOf" srcId="{D2909641-ED8A-4F63-8E22-D0C2F560868D}" destId="{8747B277-287C-4F96-AAF1-71B5A44990BB}" srcOrd="0" destOrd="0" presId="urn:microsoft.com/office/officeart/2005/8/layout/orgChart1"/>
    <dgm:cxn modelId="{3F9300D6-2600-47B1-B155-326327E6D84B}" type="presParOf" srcId="{8747B277-287C-4F96-AAF1-71B5A44990BB}" destId="{6E21471F-70DD-425A-96EB-D138019D0017}" srcOrd="0" destOrd="0" presId="urn:microsoft.com/office/officeart/2005/8/layout/orgChart1"/>
    <dgm:cxn modelId="{891E012C-14F3-4EE8-8B88-FBBE39ABC9C8}" type="presParOf" srcId="{8747B277-287C-4F96-AAF1-71B5A44990BB}" destId="{4434DAB3-9F54-4E34-870E-DE4B9CBDF485}" srcOrd="1" destOrd="0" presId="urn:microsoft.com/office/officeart/2005/8/layout/orgChart1"/>
    <dgm:cxn modelId="{3BDE28C2-114C-4EB1-9D33-A2CE2E72044A}" type="presParOf" srcId="{D2909641-ED8A-4F63-8E22-D0C2F560868D}" destId="{6D49527A-6F9D-48D3-82C3-4CC6BEAC2FC9}" srcOrd="1" destOrd="0" presId="urn:microsoft.com/office/officeart/2005/8/layout/orgChart1"/>
    <dgm:cxn modelId="{C4532B28-B427-458A-B237-805304BA93E4}" type="presParOf" srcId="{D2909641-ED8A-4F63-8E22-D0C2F560868D}" destId="{25160CDE-B463-4E43-B76B-D9F74A3CA323}" srcOrd="2" destOrd="0" presId="urn:microsoft.com/office/officeart/2005/8/layout/orgChart1"/>
    <dgm:cxn modelId="{D436A30F-5731-40D0-A725-F17AFA32A499}" type="presParOf" srcId="{E404BA80-6E0F-4C3E-BC06-4E7117DCF3CE}" destId="{AC7F4E16-96FE-497B-BF0B-5656787227AF}" srcOrd="12" destOrd="0" presId="urn:microsoft.com/office/officeart/2005/8/layout/orgChart1"/>
    <dgm:cxn modelId="{95532BFF-CDF6-4D4D-9D65-AE94830CC4A2}" type="presParOf" srcId="{E404BA80-6E0F-4C3E-BC06-4E7117DCF3CE}" destId="{42C95E19-B713-4536-A9E9-4D1F73338EC0}" srcOrd="13" destOrd="0" presId="urn:microsoft.com/office/officeart/2005/8/layout/orgChart1"/>
    <dgm:cxn modelId="{153ECFD4-EF19-4572-B83D-384B5ABA3B97}" type="presParOf" srcId="{42C95E19-B713-4536-A9E9-4D1F73338EC0}" destId="{224C3B0F-328C-4178-8DFB-86B7659781F0}" srcOrd="0" destOrd="0" presId="urn:microsoft.com/office/officeart/2005/8/layout/orgChart1"/>
    <dgm:cxn modelId="{8F539F62-BE0F-4187-97C8-D8CCE410AAB0}" type="presParOf" srcId="{224C3B0F-328C-4178-8DFB-86B7659781F0}" destId="{ABA442A2-AB17-4DFA-A6A0-AF866B22BE45}" srcOrd="0" destOrd="0" presId="urn:microsoft.com/office/officeart/2005/8/layout/orgChart1"/>
    <dgm:cxn modelId="{3881875A-FF4B-40D4-89C7-9D8E0C9BF216}" type="presParOf" srcId="{224C3B0F-328C-4178-8DFB-86B7659781F0}" destId="{7374C554-11B3-48EB-9740-621AA1D8993C}" srcOrd="1" destOrd="0" presId="urn:microsoft.com/office/officeart/2005/8/layout/orgChart1"/>
    <dgm:cxn modelId="{C2774D7E-5F95-4F9F-956F-58194678F719}" type="presParOf" srcId="{42C95E19-B713-4536-A9E9-4D1F73338EC0}" destId="{71AA5CDD-7E62-4184-B1AA-3B2AE5CCE5F2}" srcOrd="1" destOrd="0" presId="urn:microsoft.com/office/officeart/2005/8/layout/orgChart1"/>
    <dgm:cxn modelId="{32FF2D7C-EB2F-4373-BF14-6C9B1FBDEF51}" type="presParOf" srcId="{42C95E19-B713-4536-A9E9-4D1F73338EC0}" destId="{54C945F0-A591-43CB-B9B5-990E23C4DEC4}" srcOrd="2" destOrd="0" presId="urn:microsoft.com/office/officeart/2005/8/layout/orgChart1"/>
    <dgm:cxn modelId="{0D55C80E-8C62-48F3-97AA-07336229F4B9}" type="presParOf" srcId="{AB795A0E-3C7B-47E3-BC47-3534A54F9190}" destId="{393210D2-D629-4CE1-A3A4-675C9384F18A}" srcOrd="2" destOrd="0" presId="urn:microsoft.com/office/officeart/2005/8/layout/orgChart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05902AA6-96DF-4A3D-9275-8D48946301A5}" type="doc">
      <dgm:prSet loTypeId="urn:microsoft.com/office/officeart/2005/8/layout/hProcess9" loCatId="process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09A374C0-62C4-4E0B-A904-58D59AF48F32}">
      <dgm:prSet/>
      <dgm:spPr/>
      <dgm:t>
        <a:bodyPr/>
        <a:lstStyle/>
        <a:p>
          <a:r>
            <a:rPr lang="de-DE" dirty="0"/>
            <a:t>Auslagern von Web-</a:t>
          </a:r>
          <a:r>
            <a:rPr lang="de-DE" dirty="0" err="1"/>
            <a:t>Scraping</a:t>
          </a:r>
          <a:r>
            <a:rPr lang="de-DE" dirty="0"/>
            <a:t>-Code in separate Python-Dateien</a:t>
          </a:r>
        </a:p>
      </dgm:t>
    </dgm:pt>
    <dgm:pt modelId="{A794A77B-C5A4-4759-BF16-D7547284FAD7}" type="parTrans" cxnId="{59DDB252-C2B1-4262-8132-132840F18953}">
      <dgm:prSet/>
      <dgm:spPr/>
      <dgm:t>
        <a:bodyPr/>
        <a:lstStyle/>
        <a:p>
          <a:endParaRPr lang="de-DE"/>
        </a:p>
      </dgm:t>
    </dgm:pt>
    <dgm:pt modelId="{91AA41A5-345C-4889-8411-441251CBEFD2}" type="sibTrans" cxnId="{59DDB252-C2B1-4262-8132-132840F18953}">
      <dgm:prSet/>
      <dgm:spPr/>
      <dgm:t>
        <a:bodyPr/>
        <a:lstStyle/>
        <a:p>
          <a:endParaRPr lang="de-DE"/>
        </a:p>
      </dgm:t>
    </dgm:pt>
    <dgm:pt modelId="{84636778-9234-41B5-A9D5-F21D349A5678}">
      <dgm:prSet/>
      <dgm:spPr/>
      <dgm:t>
        <a:bodyPr/>
        <a:lstStyle/>
        <a:p>
          <a:r>
            <a:rPr lang="de-DE" dirty="0"/>
            <a:t>Features berechnen, welche aktuelle Form der Teams beschreiben</a:t>
          </a:r>
        </a:p>
      </dgm:t>
    </dgm:pt>
    <dgm:pt modelId="{CD349D7B-0146-47C0-97F5-86C0E2222880}" type="parTrans" cxnId="{D42FC8D6-0AF1-40F3-8AFF-BB8A4C76A435}">
      <dgm:prSet/>
      <dgm:spPr/>
      <dgm:t>
        <a:bodyPr/>
        <a:lstStyle/>
        <a:p>
          <a:endParaRPr lang="de-DE"/>
        </a:p>
      </dgm:t>
    </dgm:pt>
    <dgm:pt modelId="{F327EB18-4ACB-4AE1-ACE6-3D6FD7D0F317}" type="sibTrans" cxnId="{D42FC8D6-0AF1-40F3-8AFF-BB8A4C76A435}">
      <dgm:prSet/>
      <dgm:spPr/>
      <dgm:t>
        <a:bodyPr/>
        <a:lstStyle/>
        <a:p>
          <a:endParaRPr lang="de-DE"/>
        </a:p>
      </dgm:t>
    </dgm:pt>
    <dgm:pt modelId="{209D9134-9B0A-46B8-A978-A46D3AB9A70B}">
      <dgm:prSet/>
      <dgm:spPr/>
      <dgm:t>
        <a:bodyPr/>
        <a:lstStyle/>
        <a:p>
          <a:r>
            <a:rPr lang="de-DE"/>
            <a:t>z. B. Siege, Unentschieden und Niederlagen in den letzten x Spielen</a:t>
          </a:r>
        </a:p>
      </dgm:t>
    </dgm:pt>
    <dgm:pt modelId="{CE1BE490-B66B-4A7E-B32E-0D7FD5E1C45F}" type="parTrans" cxnId="{DDD4F9D8-2A18-40D0-9DF1-0FEE20A2349D}">
      <dgm:prSet/>
      <dgm:spPr/>
      <dgm:t>
        <a:bodyPr/>
        <a:lstStyle/>
        <a:p>
          <a:endParaRPr lang="de-DE"/>
        </a:p>
      </dgm:t>
    </dgm:pt>
    <dgm:pt modelId="{067B6B4A-92FC-4FCC-BAF3-4FDAA345FFEB}" type="sibTrans" cxnId="{DDD4F9D8-2A18-40D0-9DF1-0FEE20A2349D}">
      <dgm:prSet/>
      <dgm:spPr/>
      <dgm:t>
        <a:bodyPr/>
        <a:lstStyle/>
        <a:p>
          <a:endParaRPr lang="de-DE"/>
        </a:p>
      </dgm:t>
    </dgm:pt>
    <dgm:pt modelId="{EF587930-82B3-41BE-A00D-F64F81FCCFF8}">
      <dgm:prSet/>
      <dgm:spPr/>
      <dgm:t>
        <a:bodyPr/>
        <a:lstStyle/>
        <a:p>
          <a:r>
            <a:rPr lang="de-DE"/>
            <a:t>Statistische Datenanalyse</a:t>
          </a:r>
        </a:p>
      </dgm:t>
    </dgm:pt>
    <dgm:pt modelId="{1526125A-2D27-45FE-93E5-1A31AA34B547}" type="parTrans" cxnId="{F27DA3F7-DF95-4C95-99D7-2293EB3204B8}">
      <dgm:prSet/>
      <dgm:spPr/>
      <dgm:t>
        <a:bodyPr/>
        <a:lstStyle/>
        <a:p>
          <a:endParaRPr lang="de-DE"/>
        </a:p>
      </dgm:t>
    </dgm:pt>
    <dgm:pt modelId="{4B2ABB52-9FEA-49BA-887A-7F45422BFC24}" type="sibTrans" cxnId="{F27DA3F7-DF95-4C95-99D7-2293EB3204B8}">
      <dgm:prSet/>
      <dgm:spPr/>
      <dgm:t>
        <a:bodyPr/>
        <a:lstStyle/>
        <a:p>
          <a:endParaRPr lang="de-DE"/>
        </a:p>
      </dgm:t>
    </dgm:pt>
    <dgm:pt modelId="{A431A3E8-81A4-402D-8550-B73C5ABB7530}">
      <dgm:prSet/>
      <dgm:spPr/>
      <dgm:t>
        <a:bodyPr/>
        <a:lstStyle/>
        <a:p>
          <a:r>
            <a:rPr lang="de-DE"/>
            <a:t>Feature Engineering und Modelling</a:t>
          </a:r>
        </a:p>
      </dgm:t>
    </dgm:pt>
    <dgm:pt modelId="{0F6F4F94-4E81-42E3-BBF5-74365704F1D2}" type="parTrans" cxnId="{E7C9C71C-248C-4720-9D23-F11DAE3252FC}">
      <dgm:prSet/>
      <dgm:spPr/>
      <dgm:t>
        <a:bodyPr/>
        <a:lstStyle/>
        <a:p>
          <a:endParaRPr lang="de-DE"/>
        </a:p>
      </dgm:t>
    </dgm:pt>
    <dgm:pt modelId="{871AE1BC-3E0F-4139-B438-5261D7C54CD2}" type="sibTrans" cxnId="{E7C9C71C-248C-4720-9D23-F11DAE3252FC}">
      <dgm:prSet/>
      <dgm:spPr/>
      <dgm:t>
        <a:bodyPr/>
        <a:lstStyle/>
        <a:p>
          <a:endParaRPr lang="de-DE"/>
        </a:p>
      </dgm:t>
    </dgm:pt>
    <dgm:pt modelId="{CAE99879-3F37-4933-8F2E-41550FF57BA5}">
      <dgm:prSet/>
      <dgm:spPr/>
      <dgm:t>
        <a:bodyPr/>
        <a:lstStyle/>
        <a:p>
          <a:r>
            <a:rPr lang="de-DE"/>
            <a:t>Modellevaluation und Benchmarking</a:t>
          </a:r>
        </a:p>
      </dgm:t>
    </dgm:pt>
    <dgm:pt modelId="{35ED31CB-9374-4252-91ED-F0A0656B2D5D}" type="parTrans" cxnId="{04D58992-ACA9-4CF9-9510-B57F43976584}">
      <dgm:prSet/>
      <dgm:spPr/>
      <dgm:t>
        <a:bodyPr/>
        <a:lstStyle/>
        <a:p>
          <a:endParaRPr lang="de-DE"/>
        </a:p>
      </dgm:t>
    </dgm:pt>
    <dgm:pt modelId="{3D2A2045-2C77-4067-88E9-920743C72B89}" type="sibTrans" cxnId="{04D58992-ACA9-4CF9-9510-B57F43976584}">
      <dgm:prSet/>
      <dgm:spPr/>
      <dgm:t>
        <a:bodyPr/>
        <a:lstStyle/>
        <a:p>
          <a:endParaRPr lang="de-DE"/>
        </a:p>
      </dgm:t>
    </dgm:pt>
    <dgm:pt modelId="{D7B1A716-B5B0-407B-A520-0FE1D5607913}" type="pres">
      <dgm:prSet presAssocID="{05902AA6-96DF-4A3D-9275-8D48946301A5}" presName="CompostProcess" presStyleCnt="0">
        <dgm:presLayoutVars>
          <dgm:dir/>
          <dgm:resizeHandles val="exact"/>
        </dgm:presLayoutVars>
      </dgm:prSet>
      <dgm:spPr/>
    </dgm:pt>
    <dgm:pt modelId="{081C4271-97C9-4585-AD8B-C94394E078D9}" type="pres">
      <dgm:prSet presAssocID="{05902AA6-96DF-4A3D-9275-8D48946301A5}" presName="arrow" presStyleLbl="bgShp" presStyleIdx="0" presStyleCnt="1"/>
      <dgm:spPr/>
    </dgm:pt>
    <dgm:pt modelId="{401C4F64-BCC8-4722-B382-7F946A6EB47F}" type="pres">
      <dgm:prSet presAssocID="{05902AA6-96DF-4A3D-9275-8D48946301A5}" presName="linearProcess" presStyleCnt="0"/>
      <dgm:spPr/>
    </dgm:pt>
    <dgm:pt modelId="{A807AEA5-AB65-4BF0-8E8B-E03980A323BA}" type="pres">
      <dgm:prSet presAssocID="{09A374C0-62C4-4E0B-A904-58D59AF48F32}" presName="textNode" presStyleLbl="node1" presStyleIdx="0" presStyleCnt="5">
        <dgm:presLayoutVars>
          <dgm:bulletEnabled val="1"/>
        </dgm:presLayoutVars>
      </dgm:prSet>
      <dgm:spPr/>
    </dgm:pt>
    <dgm:pt modelId="{9D28D710-BADF-4EAD-8656-CCB573ED810B}" type="pres">
      <dgm:prSet presAssocID="{91AA41A5-345C-4889-8411-441251CBEFD2}" presName="sibTrans" presStyleCnt="0"/>
      <dgm:spPr/>
    </dgm:pt>
    <dgm:pt modelId="{83AA8CCA-D335-4A93-AC1C-330B5DA904F3}" type="pres">
      <dgm:prSet presAssocID="{84636778-9234-41B5-A9D5-F21D349A5678}" presName="textNode" presStyleLbl="node1" presStyleIdx="1" presStyleCnt="5">
        <dgm:presLayoutVars>
          <dgm:bulletEnabled val="1"/>
        </dgm:presLayoutVars>
      </dgm:prSet>
      <dgm:spPr/>
    </dgm:pt>
    <dgm:pt modelId="{34F7EBCD-0FC3-4A25-903E-A0C5299C0037}" type="pres">
      <dgm:prSet presAssocID="{F327EB18-4ACB-4AE1-ACE6-3D6FD7D0F317}" presName="sibTrans" presStyleCnt="0"/>
      <dgm:spPr/>
    </dgm:pt>
    <dgm:pt modelId="{D18F99D5-99F8-4161-9EB2-CB4843E7331F}" type="pres">
      <dgm:prSet presAssocID="{EF587930-82B3-41BE-A00D-F64F81FCCFF8}" presName="textNode" presStyleLbl="node1" presStyleIdx="2" presStyleCnt="5">
        <dgm:presLayoutVars>
          <dgm:bulletEnabled val="1"/>
        </dgm:presLayoutVars>
      </dgm:prSet>
      <dgm:spPr/>
    </dgm:pt>
    <dgm:pt modelId="{7CD19C5C-27C4-4B0E-BDB5-6CE424201113}" type="pres">
      <dgm:prSet presAssocID="{4B2ABB52-9FEA-49BA-887A-7F45422BFC24}" presName="sibTrans" presStyleCnt="0"/>
      <dgm:spPr/>
    </dgm:pt>
    <dgm:pt modelId="{8709D373-8470-4F0A-B3DA-319DD3871C6E}" type="pres">
      <dgm:prSet presAssocID="{A431A3E8-81A4-402D-8550-B73C5ABB7530}" presName="textNode" presStyleLbl="node1" presStyleIdx="3" presStyleCnt="5">
        <dgm:presLayoutVars>
          <dgm:bulletEnabled val="1"/>
        </dgm:presLayoutVars>
      </dgm:prSet>
      <dgm:spPr/>
    </dgm:pt>
    <dgm:pt modelId="{C7217561-D396-4B81-879A-04ECBF494CE2}" type="pres">
      <dgm:prSet presAssocID="{871AE1BC-3E0F-4139-B438-5261D7C54CD2}" presName="sibTrans" presStyleCnt="0"/>
      <dgm:spPr/>
    </dgm:pt>
    <dgm:pt modelId="{1B95D6BE-54AC-486B-960D-5BBA9E945FAA}" type="pres">
      <dgm:prSet presAssocID="{CAE99879-3F37-4933-8F2E-41550FF57BA5}" presName="textNode" presStyleLbl="node1" presStyleIdx="4" presStyleCnt="5">
        <dgm:presLayoutVars>
          <dgm:bulletEnabled val="1"/>
        </dgm:presLayoutVars>
      </dgm:prSet>
      <dgm:spPr/>
    </dgm:pt>
  </dgm:ptLst>
  <dgm:cxnLst>
    <dgm:cxn modelId="{26AE701B-46BC-4DC0-A279-0037F59E523D}" type="presOf" srcId="{EF587930-82B3-41BE-A00D-F64F81FCCFF8}" destId="{D18F99D5-99F8-4161-9EB2-CB4843E7331F}" srcOrd="0" destOrd="0" presId="urn:microsoft.com/office/officeart/2005/8/layout/hProcess9"/>
    <dgm:cxn modelId="{E7C9C71C-248C-4720-9D23-F11DAE3252FC}" srcId="{05902AA6-96DF-4A3D-9275-8D48946301A5}" destId="{A431A3E8-81A4-402D-8550-B73C5ABB7530}" srcOrd="3" destOrd="0" parTransId="{0F6F4F94-4E81-42E3-BBF5-74365704F1D2}" sibTransId="{871AE1BC-3E0F-4139-B438-5261D7C54CD2}"/>
    <dgm:cxn modelId="{423D7C1E-38C6-460F-A635-33BEACFEE653}" type="presOf" srcId="{209D9134-9B0A-46B8-A978-A46D3AB9A70B}" destId="{83AA8CCA-D335-4A93-AC1C-330B5DA904F3}" srcOrd="0" destOrd="1" presId="urn:microsoft.com/office/officeart/2005/8/layout/hProcess9"/>
    <dgm:cxn modelId="{44D33822-6320-4724-9338-448AC3797ABB}" type="presOf" srcId="{CAE99879-3F37-4933-8F2E-41550FF57BA5}" destId="{1B95D6BE-54AC-486B-960D-5BBA9E945FAA}" srcOrd="0" destOrd="0" presId="urn:microsoft.com/office/officeart/2005/8/layout/hProcess9"/>
    <dgm:cxn modelId="{59DDB252-C2B1-4262-8132-132840F18953}" srcId="{05902AA6-96DF-4A3D-9275-8D48946301A5}" destId="{09A374C0-62C4-4E0B-A904-58D59AF48F32}" srcOrd="0" destOrd="0" parTransId="{A794A77B-C5A4-4759-BF16-D7547284FAD7}" sibTransId="{91AA41A5-345C-4889-8411-441251CBEFD2}"/>
    <dgm:cxn modelId="{EA8E8187-EC80-4BE9-A40D-81E1AE63C238}" type="presOf" srcId="{05902AA6-96DF-4A3D-9275-8D48946301A5}" destId="{D7B1A716-B5B0-407B-A520-0FE1D5607913}" srcOrd="0" destOrd="0" presId="urn:microsoft.com/office/officeart/2005/8/layout/hProcess9"/>
    <dgm:cxn modelId="{76EA4F88-F42E-4AAF-A6FD-230EE04DA525}" type="presOf" srcId="{09A374C0-62C4-4E0B-A904-58D59AF48F32}" destId="{A807AEA5-AB65-4BF0-8E8B-E03980A323BA}" srcOrd="0" destOrd="0" presId="urn:microsoft.com/office/officeart/2005/8/layout/hProcess9"/>
    <dgm:cxn modelId="{04D58992-ACA9-4CF9-9510-B57F43976584}" srcId="{05902AA6-96DF-4A3D-9275-8D48946301A5}" destId="{CAE99879-3F37-4933-8F2E-41550FF57BA5}" srcOrd="4" destOrd="0" parTransId="{35ED31CB-9374-4252-91ED-F0A0656B2D5D}" sibTransId="{3D2A2045-2C77-4067-88E9-920743C72B89}"/>
    <dgm:cxn modelId="{44ADECA1-22CD-4660-9307-36E5EE0867B4}" type="presOf" srcId="{84636778-9234-41B5-A9D5-F21D349A5678}" destId="{83AA8CCA-D335-4A93-AC1C-330B5DA904F3}" srcOrd="0" destOrd="0" presId="urn:microsoft.com/office/officeart/2005/8/layout/hProcess9"/>
    <dgm:cxn modelId="{8E70E2D5-3D78-4EB3-B765-10973609A3A4}" type="presOf" srcId="{A431A3E8-81A4-402D-8550-B73C5ABB7530}" destId="{8709D373-8470-4F0A-B3DA-319DD3871C6E}" srcOrd="0" destOrd="0" presId="urn:microsoft.com/office/officeart/2005/8/layout/hProcess9"/>
    <dgm:cxn modelId="{D42FC8D6-0AF1-40F3-8AFF-BB8A4C76A435}" srcId="{05902AA6-96DF-4A3D-9275-8D48946301A5}" destId="{84636778-9234-41B5-A9D5-F21D349A5678}" srcOrd="1" destOrd="0" parTransId="{CD349D7B-0146-47C0-97F5-86C0E2222880}" sibTransId="{F327EB18-4ACB-4AE1-ACE6-3D6FD7D0F317}"/>
    <dgm:cxn modelId="{DDD4F9D8-2A18-40D0-9DF1-0FEE20A2349D}" srcId="{84636778-9234-41B5-A9D5-F21D349A5678}" destId="{209D9134-9B0A-46B8-A978-A46D3AB9A70B}" srcOrd="0" destOrd="0" parTransId="{CE1BE490-B66B-4A7E-B32E-0D7FD5E1C45F}" sibTransId="{067B6B4A-92FC-4FCC-BAF3-4FDAA345FFEB}"/>
    <dgm:cxn modelId="{F27DA3F7-DF95-4C95-99D7-2293EB3204B8}" srcId="{05902AA6-96DF-4A3D-9275-8D48946301A5}" destId="{EF587930-82B3-41BE-A00D-F64F81FCCFF8}" srcOrd="2" destOrd="0" parTransId="{1526125A-2D27-45FE-93E5-1A31AA34B547}" sibTransId="{4B2ABB52-9FEA-49BA-887A-7F45422BFC24}"/>
    <dgm:cxn modelId="{0F28DDAC-261E-4CDB-9341-ADA8799E02A3}" type="presParOf" srcId="{D7B1A716-B5B0-407B-A520-0FE1D5607913}" destId="{081C4271-97C9-4585-AD8B-C94394E078D9}" srcOrd="0" destOrd="0" presId="urn:microsoft.com/office/officeart/2005/8/layout/hProcess9"/>
    <dgm:cxn modelId="{206A1635-9FCD-4D2D-A4E0-05EF1AAA5493}" type="presParOf" srcId="{D7B1A716-B5B0-407B-A520-0FE1D5607913}" destId="{401C4F64-BCC8-4722-B382-7F946A6EB47F}" srcOrd="1" destOrd="0" presId="urn:microsoft.com/office/officeart/2005/8/layout/hProcess9"/>
    <dgm:cxn modelId="{F03A1F62-3807-488A-93D4-2EC91C1A1511}" type="presParOf" srcId="{401C4F64-BCC8-4722-B382-7F946A6EB47F}" destId="{A807AEA5-AB65-4BF0-8E8B-E03980A323BA}" srcOrd="0" destOrd="0" presId="urn:microsoft.com/office/officeart/2005/8/layout/hProcess9"/>
    <dgm:cxn modelId="{693CF837-929E-4AA0-9FEE-CC0ABE51709B}" type="presParOf" srcId="{401C4F64-BCC8-4722-B382-7F946A6EB47F}" destId="{9D28D710-BADF-4EAD-8656-CCB573ED810B}" srcOrd="1" destOrd="0" presId="urn:microsoft.com/office/officeart/2005/8/layout/hProcess9"/>
    <dgm:cxn modelId="{28F73F88-CF46-4A3E-A9F4-E0338C163921}" type="presParOf" srcId="{401C4F64-BCC8-4722-B382-7F946A6EB47F}" destId="{83AA8CCA-D335-4A93-AC1C-330B5DA904F3}" srcOrd="2" destOrd="0" presId="urn:microsoft.com/office/officeart/2005/8/layout/hProcess9"/>
    <dgm:cxn modelId="{2BB23242-CE01-41E9-A208-2936D65CDC3F}" type="presParOf" srcId="{401C4F64-BCC8-4722-B382-7F946A6EB47F}" destId="{34F7EBCD-0FC3-4A25-903E-A0C5299C0037}" srcOrd="3" destOrd="0" presId="urn:microsoft.com/office/officeart/2005/8/layout/hProcess9"/>
    <dgm:cxn modelId="{3FADE311-D254-4F8C-A6CA-6294501994D9}" type="presParOf" srcId="{401C4F64-BCC8-4722-B382-7F946A6EB47F}" destId="{D18F99D5-99F8-4161-9EB2-CB4843E7331F}" srcOrd="4" destOrd="0" presId="urn:microsoft.com/office/officeart/2005/8/layout/hProcess9"/>
    <dgm:cxn modelId="{5E22166E-FD24-4F71-8C35-6D2DA75CB193}" type="presParOf" srcId="{401C4F64-BCC8-4722-B382-7F946A6EB47F}" destId="{7CD19C5C-27C4-4B0E-BDB5-6CE424201113}" srcOrd="5" destOrd="0" presId="urn:microsoft.com/office/officeart/2005/8/layout/hProcess9"/>
    <dgm:cxn modelId="{F4B3FE32-0AB2-4198-B883-05941807817A}" type="presParOf" srcId="{401C4F64-BCC8-4722-B382-7F946A6EB47F}" destId="{8709D373-8470-4F0A-B3DA-319DD3871C6E}" srcOrd="6" destOrd="0" presId="urn:microsoft.com/office/officeart/2005/8/layout/hProcess9"/>
    <dgm:cxn modelId="{2B653B04-B0DA-4514-93CB-817CFA9CD3A3}" type="presParOf" srcId="{401C4F64-BCC8-4722-B382-7F946A6EB47F}" destId="{C7217561-D396-4B81-879A-04ECBF494CE2}" srcOrd="7" destOrd="0" presId="urn:microsoft.com/office/officeart/2005/8/layout/hProcess9"/>
    <dgm:cxn modelId="{CCD52344-3E27-4C0D-B94B-42115FA228DC}" type="presParOf" srcId="{401C4F64-BCC8-4722-B382-7F946A6EB47F}" destId="{1B95D6BE-54AC-486B-960D-5BBA9E945FAA}" srcOrd="8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E27A2A2-10DA-41FA-9E19-4DFDB4331D40}">
      <dsp:nvSpPr>
        <dsp:cNvPr id="0" name=""/>
        <dsp:cNvSpPr/>
      </dsp:nvSpPr>
      <dsp:spPr>
        <a:xfrm>
          <a:off x="2580479" y="2266"/>
          <a:ext cx="2903039" cy="1090084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800" kern="1200" dirty="0"/>
            <a:t>Überblick Transfermarkt</a:t>
          </a:r>
        </a:p>
      </dsp:txBody>
      <dsp:txXfrm>
        <a:off x="2633693" y="55480"/>
        <a:ext cx="2796611" cy="983656"/>
      </dsp:txXfrm>
    </dsp:sp>
    <dsp:sp modelId="{95715669-8423-43AC-AAE0-14D3390F5CFC}">
      <dsp:nvSpPr>
        <dsp:cNvPr id="0" name=""/>
        <dsp:cNvSpPr/>
      </dsp:nvSpPr>
      <dsp:spPr>
        <a:xfrm>
          <a:off x="2580479" y="1146854"/>
          <a:ext cx="2903039" cy="1090084"/>
        </a:xfrm>
        <a:prstGeom prst="roundRect">
          <a:avLst/>
        </a:prstGeom>
        <a:solidFill>
          <a:schemeClr val="accent2">
            <a:shade val="80000"/>
            <a:hueOff val="276124"/>
            <a:satOff val="-22124"/>
            <a:lumOff val="1273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800" kern="1200"/>
            <a:t>Zwischenstand Web-Scraping</a:t>
          </a:r>
        </a:p>
      </dsp:txBody>
      <dsp:txXfrm>
        <a:off x="2633693" y="1200068"/>
        <a:ext cx="2796611" cy="983656"/>
      </dsp:txXfrm>
    </dsp:sp>
    <dsp:sp modelId="{D3876921-7BEB-4E83-B399-BA9C72B8EBB3}">
      <dsp:nvSpPr>
        <dsp:cNvPr id="0" name=""/>
        <dsp:cNvSpPr/>
      </dsp:nvSpPr>
      <dsp:spPr>
        <a:xfrm>
          <a:off x="2580479" y="2291443"/>
          <a:ext cx="2903039" cy="1090084"/>
        </a:xfrm>
        <a:prstGeom prst="roundRect">
          <a:avLst/>
        </a:prstGeom>
        <a:solidFill>
          <a:schemeClr val="accent2">
            <a:shade val="80000"/>
            <a:hueOff val="552247"/>
            <a:satOff val="-44248"/>
            <a:lumOff val="2546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800" kern="1200"/>
            <a:t>Benchmarking</a:t>
          </a:r>
        </a:p>
      </dsp:txBody>
      <dsp:txXfrm>
        <a:off x="2633693" y="2344657"/>
        <a:ext cx="2796611" cy="983656"/>
      </dsp:txXfrm>
    </dsp:sp>
    <dsp:sp modelId="{ECDB91A6-652D-454F-B65A-30749F0E0B14}">
      <dsp:nvSpPr>
        <dsp:cNvPr id="0" name=""/>
        <dsp:cNvSpPr/>
      </dsp:nvSpPr>
      <dsp:spPr>
        <a:xfrm>
          <a:off x="2580479" y="3436031"/>
          <a:ext cx="2903039" cy="1090084"/>
        </a:xfrm>
        <a:prstGeom prst="roundRect">
          <a:avLst/>
        </a:prstGeom>
        <a:solidFill>
          <a:schemeClr val="accent2">
            <a:shade val="80000"/>
            <a:hueOff val="828371"/>
            <a:satOff val="-66372"/>
            <a:lumOff val="3819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800" kern="1200"/>
            <a:t>Next Steps</a:t>
          </a:r>
        </a:p>
      </dsp:txBody>
      <dsp:txXfrm>
        <a:off x="2633693" y="3489245"/>
        <a:ext cx="2796611" cy="98365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3D53A3B-4D5B-47BB-B8E8-5B53B272AFD5}">
      <dsp:nvSpPr>
        <dsp:cNvPr id="0" name=""/>
        <dsp:cNvSpPr/>
      </dsp:nvSpPr>
      <dsp:spPr>
        <a:xfrm>
          <a:off x="3239532" y="1290588"/>
          <a:ext cx="1584933" cy="158493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4721F6CC-2D4D-4521-84B5-C4C8FA293CEB}">
      <dsp:nvSpPr>
        <dsp:cNvPr id="0" name=""/>
        <dsp:cNvSpPr/>
      </dsp:nvSpPr>
      <dsp:spPr>
        <a:xfrm>
          <a:off x="3112737" y="0"/>
          <a:ext cx="1838523" cy="1064169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/>
            <a:t>News und Transfergerüchte aus aller Welt</a:t>
          </a:r>
        </a:p>
      </dsp:txBody>
      <dsp:txXfrm>
        <a:off x="3112737" y="0"/>
        <a:ext cx="1838523" cy="1064169"/>
      </dsp:txXfrm>
    </dsp:sp>
    <dsp:sp modelId="{A8C09EF0-172F-42CF-A6C9-C0FFCC582545}">
      <dsp:nvSpPr>
        <dsp:cNvPr id="0" name=""/>
        <dsp:cNvSpPr/>
      </dsp:nvSpPr>
      <dsp:spPr>
        <a:xfrm>
          <a:off x="3842441" y="1728483"/>
          <a:ext cx="1584933" cy="158493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497D19D9-E8BE-46A0-8F84-808AF46585ED}">
      <dsp:nvSpPr>
        <dsp:cNvPr id="0" name=""/>
        <dsp:cNvSpPr/>
      </dsp:nvSpPr>
      <dsp:spPr>
        <a:xfrm>
          <a:off x="5553535" y="1403798"/>
          <a:ext cx="1648331" cy="1154737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/>
            <a:t>Statistiken zu Spielern, Mannschaften und Ligen</a:t>
          </a:r>
        </a:p>
      </dsp:txBody>
      <dsp:txXfrm>
        <a:off x="5553535" y="1403798"/>
        <a:ext cx="1648331" cy="1154737"/>
      </dsp:txXfrm>
    </dsp:sp>
    <dsp:sp modelId="{EF17E774-C656-4AC4-A38F-62D88E02B32D}">
      <dsp:nvSpPr>
        <dsp:cNvPr id="0" name=""/>
        <dsp:cNvSpPr/>
      </dsp:nvSpPr>
      <dsp:spPr>
        <a:xfrm>
          <a:off x="3612309" y="2437628"/>
          <a:ext cx="1584933" cy="158493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B3814468-3C2D-418C-9180-F3424EBA280F}">
      <dsp:nvSpPr>
        <dsp:cNvPr id="0" name=""/>
        <dsp:cNvSpPr/>
      </dsp:nvSpPr>
      <dsp:spPr>
        <a:xfrm>
          <a:off x="5299946" y="3373644"/>
          <a:ext cx="1648331" cy="1154737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/>
            <a:t>Spieler- und Mannschaftsprofile</a:t>
          </a:r>
        </a:p>
      </dsp:txBody>
      <dsp:txXfrm>
        <a:off x="5299946" y="3373644"/>
        <a:ext cx="1648331" cy="1154737"/>
      </dsp:txXfrm>
    </dsp:sp>
    <dsp:sp modelId="{18D027AC-83EC-4A74-84C6-62DF738F1D44}">
      <dsp:nvSpPr>
        <dsp:cNvPr id="0" name=""/>
        <dsp:cNvSpPr/>
      </dsp:nvSpPr>
      <dsp:spPr>
        <a:xfrm>
          <a:off x="2866756" y="2437628"/>
          <a:ext cx="1584933" cy="158493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EF770828-0B3A-4F54-8CAC-F67E8B9F2DF9}">
      <dsp:nvSpPr>
        <dsp:cNvPr id="0" name=""/>
        <dsp:cNvSpPr/>
      </dsp:nvSpPr>
      <dsp:spPr>
        <a:xfrm>
          <a:off x="1115721" y="3373644"/>
          <a:ext cx="1648331" cy="1154737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/>
            <a:t>Transfermarkt-Werte für Spieler und Mannschaften</a:t>
          </a:r>
        </a:p>
      </dsp:txBody>
      <dsp:txXfrm>
        <a:off x="1115721" y="3373644"/>
        <a:ext cx="1648331" cy="1154737"/>
      </dsp:txXfrm>
    </dsp:sp>
    <dsp:sp modelId="{13E045FB-34D1-410B-B223-B8C458FCC7CA}">
      <dsp:nvSpPr>
        <dsp:cNvPr id="0" name=""/>
        <dsp:cNvSpPr/>
      </dsp:nvSpPr>
      <dsp:spPr>
        <a:xfrm>
          <a:off x="2636623" y="1728483"/>
          <a:ext cx="1584933" cy="158493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5E0845A9-FCF2-47B3-8B0C-C226CD5FB40B}">
      <dsp:nvSpPr>
        <dsp:cNvPr id="0" name=""/>
        <dsp:cNvSpPr/>
      </dsp:nvSpPr>
      <dsp:spPr>
        <a:xfrm>
          <a:off x="862132" y="1403798"/>
          <a:ext cx="1648331" cy="1154737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/>
            <a:t>Community von Fußballfans, die sich über Transfers, Statistiken und andere Themen austauschen können</a:t>
          </a:r>
        </a:p>
      </dsp:txBody>
      <dsp:txXfrm>
        <a:off x="862132" y="1403798"/>
        <a:ext cx="1648331" cy="115473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C8AB344-DDA2-4C65-9FAE-8474291F8300}">
      <dsp:nvSpPr>
        <dsp:cNvPr id="0" name=""/>
        <dsp:cNvSpPr/>
      </dsp:nvSpPr>
      <dsp:spPr>
        <a:xfrm>
          <a:off x="4031999" y="1580789"/>
          <a:ext cx="3562627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0" y="89260"/>
              </a:lnTo>
              <a:lnTo>
                <a:pt x="3562627" y="89260"/>
              </a:lnTo>
              <a:lnTo>
                <a:pt x="3562627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C650D1E-3017-4717-95CC-BB314B759F2C}">
      <dsp:nvSpPr>
        <dsp:cNvPr id="0" name=""/>
        <dsp:cNvSpPr/>
      </dsp:nvSpPr>
      <dsp:spPr>
        <a:xfrm>
          <a:off x="4031999" y="1580789"/>
          <a:ext cx="2544734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0" y="89260"/>
              </a:lnTo>
              <a:lnTo>
                <a:pt x="2544734" y="89260"/>
              </a:lnTo>
              <a:lnTo>
                <a:pt x="2544734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5A4952-58DB-4379-A0FF-9CF9AA8B30A9}">
      <dsp:nvSpPr>
        <dsp:cNvPr id="0" name=""/>
        <dsp:cNvSpPr/>
      </dsp:nvSpPr>
      <dsp:spPr>
        <a:xfrm>
          <a:off x="4031999" y="1580789"/>
          <a:ext cx="152684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0" y="89260"/>
              </a:lnTo>
              <a:lnTo>
                <a:pt x="1526840" y="89260"/>
              </a:lnTo>
              <a:lnTo>
                <a:pt x="1526840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B64A66-98C3-4BB7-B533-49BBD6320137}">
      <dsp:nvSpPr>
        <dsp:cNvPr id="0" name=""/>
        <dsp:cNvSpPr/>
      </dsp:nvSpPr>
      <dsp:spPr>
        <a:xfrm>
          <a:off x="4031999" y="1580789"/>
          <a:ext cx="50894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0" y="89260"/>
              </a:lnTo>
              <a:lnTo>
                <a:pt x="508946" y="89260"/>
              </a:lnTo>
              <a:lnTo>
                <a:pt x="508946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BDEDD73-1A0D-448D-87EC-AF798632099F}">
      <dsp:nvSpPr>
        <dsp:cNvPr id="0" name=""/>
        <dsp:cNvSpPr/>
      </dsp:nvSpPr>
      <dsp:spPr>
        <a:xfrm>
          <a:off x="3523052" y="1580789"/>
          <a:ext cx="508946" cy="91440"/>
        </a:xfrm>
        <a:custGeom>
          <a:avLst/>
          <a:gdLst/>
          <a:ahLst/>
          <a:cxnLst/>
          <a:rect l="0" t="0" r="0" b="0"/>
          <a:pathLst>
            <a:path>
              <a:moveTo>
                <a:pt x="508946" y="45720"/>
              </a:moveTo>
              <a:lnTo>
                <a:pt x="508946" y="89260"/>
              </a:lnTo>
              <a:lnTo>
                <a:pt x="0" y="89260"/>
              </a:lnTo>
              <a:lnTo>
                <a:pt x="0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66BDE4F-B05F-4DE9-9297-2C646DE2E6AF}">
      <dsp:nvSpPr>
        <dsp:cNvPr id="0" name=""/>
        <dsp:cNvSpPr/>
      </dsp:nvSpPr>
      <dsp:spPr>
        <a:xfrm>
          <a:off x="2505159" y="1580789"/>
          <a:ext cx="1526840" cy="91440"/>
        </a:xfrm>
        <a:custGeom>
          <a:avLst/>
          <a:gdLst/>
          <a:ahLst/>
          <a:cxnLst/>
          <a:rect l="0" t="0" r="0" b="0"/>
          <a:pathLst>
            <a:path>
              <a:moveTo>
                <a:pt x="1526840" y="45720"/>
              </a:moveTo>
              <a:lnTo>
                <a:pt x="1526840" y="89260"/>
              </a:lnTo>
              <a:lnTo>
                <a:pt x="0" y="89260"/>
              </a:lnTo>
              <a:lnTo>
                <a:pt x="0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8E588E-D810-43F6-B8D0-371D7DDA551F}">
      <dsp:nvSpPr>
        <dsp:cNvPr id="0" name=""/>
        <dsp:cNvSpPr/>
      </dsp:nvSpPr>
      <dsp:spPr>
        <a:xfrm>
          <a:off x="1487265" y="1580789"/>
          <a:ext cx="2544734" cy="91440"/>
        </a:xfrm>
        <a:custGeom>
          <a:avLst/>
          <a:gdLst/>
          <a:ahLst/>
          <a:cxnLst/>
          <a:rect l="0" t="0" r="0" b="0"/>
          <a:pathLst>
            <a:path>
              <a:moveTo>
                <a:pt x="2544734" y="45720"/>
              </a:moveTo>
              <a:lnTo>
                <a:pt x="2544734" y="89260"/>
              </a:lnTo>
              <a:lnTo>
                <a:pt x="0" y="89260"/>
              </a:lnTo>
              <a:lnTo>
                <a:pt x="0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F1BF832-7D6F-4314-8A20-B77ADD6E09FD}">
      <dsp:nvSpPr>
        <dsp:cNvPr id="0" name=""/>
        <dsp:cNvSpPr/>
      </dsp:nvSpPr>
      <dsp:spPr>
        <a:xfrm>
          <a:off x="469371" y="1580789"/>
          <a:ext cx="3562627" cy="91440"/>
        </a:xfrm>
        <a:custGeom>
          <a:avLst/>
          <a:gdLst/>
          <a:ahLst/>
          <a:cxnLst/>
          <a:rect l="0" t="0" r="0" b="0"/>
          <a:pathLst>
            <a:path>
              <a:moveTo>
                <a:pt x="3562627" y="45720"/>
              </a:moveTo>
              <a:lnTo>
                <a:pt x="3562627" y="89260"/>
              </a:lnTo>
              <a:lnTo>
                <a:pt x="0" y="89260"/>
              </a:lnTo>
              <a:lnTo>
                <a:pt x="0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D70376-3E3F-43E1-B2C6-956970C172ED}">
      <dsp:nvSpPr>
        <dsp:cNvPr id="0" name=""/>
        <dsp:cNvSpPr/>
      </dsp:nvSpPr>
      <dsp:spPr>
        <a:xfrm>
          <a:off x="3566592" y="1079421"/>
          <a:ext cx="930813" cy="547087"/>
        </a:xfrm>
        <a:prstGeom prst="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Attribute</a:t>
          </a:r>
        </a:p>
      </dsp:txBody>
      <dsp:txXfrm>
        <a:off x="3566592" y="1079421"/>
        <a:ext cx="930813" cy="547087"/>
      </dsp:txXfrm>
    </dsp:sp>
    <dsp:sp modelId="{BCA0F817-645B-4DF6-B98A-68FC4A66FB72}">
      <dsp:nvSpPr>
        <dsp:cNvPr id="0" name=""/>
        <dsp:cNvSpPr/>
      </dsp:nvSpPr>
      <dsp:spPr>
        <a:xfrm>
          <a:off x="3965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Spieldatum</a:t>
          </a:r>
        </a:p>
      </dsp:txBody>
      <dsp:txXfrm>
        <a:off x="3965" y="1713590"/>
        <a:ext cx="930813" cy="547087"/>
      </dsp:txXfrm>
    </dsp:sp>
    <dsp:sp modelId="{919252C1-5E8F-4C1E-8B07-9019D6B598DF}">
      <dsp:nvSpPr>
        <dsp:cNvPr id="0" name=""/>
        <dsp:cNvSpPr/>
      </dsp:nvSpPr>
      <dsp:spPr>
        <a:xfrm>
          <a:off x="1021858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Saison</a:t>
          </a:r>
        </a:p>
      </dsp:txBody>
      <dsp:txXfrm>
        <a:off x="1021858" y="1713590"/>
        <a:ext cx="930813" cy="547087"/>
      </dsp:txXfrm>
    </dsp:sp>
    <dsp:sp modelId="{CB31C50E-0282-4D4F-B0CC-4E9722E2149F}">
      <dsp:nvSpPr>
        <dsp:cNvPr id="0" name=""/>
        <dsp:cNvSpPr/>
      </dsp:nvSpPr>
      <dsp:spPr>
        <a:xfrm>
          <a:off x="2039752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Spieltag</a:t>
          </a:r>
        </a:p>
      </dsp:txBody>
      <dsp:txXfrm>
        <a:off x="2039752" y="1713590"/>
        <a:ext cx="930813" cy="547087"/>
      </dsp:txXfrm>
    </dsp:sp>
    <dsp:sp modelId="{609EB9A4-2680-422B-ADA3-4CA28FF595B7}">
      <dsp:nvSpPr>
        <dsp:cNvPr id="0" name=""/>
        <dsp:cNvSpPr/>
      </dsp:nvSpPr>
      <dsp:spPr>
        <a:xfrm>
          <a:off x="3057646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Heim- und Auswärtsteam</a:t>
          </a:r>
        </a:p>
      </dsp:txBody>
      <dsp:txXfrm>
        <a:off x="3057646" y="1713590"/>
        <a:ext cx="930813" cy="547087"/>
      </dsp:txXfrm>
    </dsp:sp>
    <dsp:sp modelId="{8A836A0C-FAC7-4158-B0FF-92C12F5D70AB}">
      <dsp:nvSpPr>
        <dsp:cNvPr id="0" name=""/>
        <dsp:cNvSpPr/>
      </dsp:nvSpPr>
      <dsp:spPr>
        <a:xfrm>
          <a:off x="4075539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Platzierungen beider Teams vor dem Spiel</a:t>
          </a:r>
        </a:p>
      </dsp:txBody>
      <dsp:txXfrm>
        <a:off x="4075539" y="1713590"/>
        <a:ext cx="930813" cy="547087"/>
      </dsp:txXfrm>
    </dsp:sp>
    <dsp:sp modelId="{6E21471F-70DD-425A-96EB-D138019D0017}">
      <dsp:nvSpPr>
        <dsp:cNvPr id="0" name=""/>
        <dsp:cNvSpPr/>
      </dsp:nvSpPr>
      <dsp:spPr>
        <a:xfrm>
          <a:off x="5093433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Tipprundenten-</a:t>
          </a:r>
          <a:r>
            <a:rPr lang="de-DE" sz="1000" kern="1200" dirty="0" err="1"/>
            <a:t>denzen</a:t>
          </a:r>
          <a:endParaRPr lang="de-DE" sz="1000" kern="1200" dirty="0"/>
        </a:p>
      </dsp:txBody>
      <dsp:txXfrm>
        <a:off x="5093433" y="1713590"/>
        <a:ext cx="930813" cy="547087"/>
      </dsp:txXfrm>
    </dsp:sp>
    <dsp:sp modelId="{09F933FE-904C-41E0-8847-5EE14ADC5F19}">
      <dsp:nvSpPr>
        <dsp:cNvPr id="0" name=""/>
        <dsp:cNvSpPr/>
      </dsp:nvSpPr>
      <dsp:spPr>
        <a:xfrm>
          <a:off x="6111326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Geschossene Tore beider Teams</a:t>
          </a:r>
        </a:p>
      </dsp:txBody>
      <dsp:txXfrm>
        <a:off x="6111326" y="1713590"/>
        <a:ext cx="930813" cy="547087"/>
      </dsp:txXfrm>
    </dsp:sp>
    <dsp:sp modelId="{3D4EB2F9-3B09-45FA-A6CC-B4ABB57F75C1}">
      <dsp:nvSpPr>
        <dsp:cNvPr id="0" name=""/>
        <dsp:cNvSpPr/>
      </dsp:nvSpPr>
      <dsp:spPr>
        <a:xfrm>
          <a:off x="7129220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Schiedsrichter</a:t>
          </a:r>
        </a:p>
      </dsp:txBody>
      <dsp:txXfrm>
        <a:off x="7129220" y="1713590"/>
        <a:ext cx="930813" cy="547087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C650D1E-3017-4717-95CC-BB314B759F2C}">
      <dsp:nvSpPr>
        <dsp:cNvPr id="0" name=""/>
        <dsp:cNvSpPr/>
      </dsp:nvSpPr>
      <dsp:spPr>
        <a:xfrm>
          <a:off x="4031999" y="1620179"/>
          <a:ext cx="3497687" cy="9974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9870"/>
              </a:lnTo>
              <a:lnTo>
                <a:pt x="3497687" y="49870"/>
              </a:lnTo>
              <a:lnTo>
                <a:pt x="3497687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5A4952-58DB-4379-A0FF-9CF9AA8B30A9}">
      <dsp:nvSpPr>
        <dsp:cNvPr id="0" name=""/>
        <dsp:cNvSpPr/>
      </dsp:nvSpPr>
      <dsp:spPr>
        <a:xfrm>
          <a:off x="4031999" y="1620179"/>
          <a:ext cx="2331791" cy="9974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9870"/>
              </a:lnTo>
              <a:lnTo>
                <a:pt x="2331791" y="49870"/>
              </a:lnTo>
              <a:lnTo>
                <a:pt x="2331791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B64A66-98C3-4BB7-B533-49BBD6320137}">
      <dsp:nvSpPr>
        <dsp:cNvPr id="0" name=""/>
        <dsp:cNvSpPr/>
      </dsp:nvSpPr>
      <dsp:spPr>
        <a:xfrm>
          <a:off x="4031999" y="1620179"/>
          <a:ext cx="1165895" cy="9974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9870"/>
              </a:lnTo>
              <a:lnTo>
                <a:pt x="1165895" y="49870"/>
              </a:lnTo>
              <a:lnTo>
                <a:pt x="1165895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BDEDD73-1A0D-448D-87EC-AF798632099F}">
      <dsp:nvSpPr>
        <dsp:cNvPr id="0" name=""/>
        <dsp:cNvSpPr/>
      </dsp:nvSpPr>
      <dsp:spPr>
        <a:xfrm>
          <a:off x="3986279" y="1620179"/>
          <a:ext cx="91440" cy="9974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66BDE4F-B05F-4DE9-9297-2C646DE2E6AF}">
      <dsp:nvSpPr>
        <dsp:cNvPr id="0" name=""/>
        <dsp:cNvSpPr/>
      </dsp:nvSpPr>
      <dsp:spPr>
        <a:xfrm>
          <a:off x="2866103" y="1620179"/>
          <a:ext cx="1165895" cy="99741"/>
        </a:xfrm>
        <a:custGeom>
          <a:avLst/>
          <a:gdLst/>
          <a:ahLst/>
          <a:cxnLst/>
          <a:rect l="0" t="0" r="0" b="0"/>
          <a:pathLst>
            <a:path>
              <a:moveTo>
                <a:pt x="1165895" y="0"/>
              </a:moveTo>
              <a:lnTo>
                <a:pt x="1165895" y="49870"/>
              </a:lnTo>
              <a:lnTo>
                <a:pt x="0" y="49870"/>
              </a:lnTo>
              <a:lnTo>
                <a:pt x="0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8E588E-D810-43F6-B8D0-371D7DDA551F}">
      <dsp:nvSpPr>
        <dsp:cNvPr id="0" name=""/>
        <dsp:cNvSpPr/>
      </dsp:nvSpPr>
      <dsp:spPr>
        <a:xfrm>
          <a:off x="1700207" y="1620179"/>
          <a:ext cx="2331791" cy="99741"/>
        </a:xfrm>
        <a:custGeom>
          <a:avLst/>
          <a:gdLst/>
          <a:ahLst/>
          <a:cxnLst/>
          <a:rect l="0" t="0" r="0" b="0"/>
          <a:pathLst>
            <a:path>
              <a:moveTo>
                <a:pt x="2331791" y="0"/>
              </a:moveTo>
              <a:lnTo>
                <a:pt x="2331791" y="49870"/>
              </a:lnTo>
              <a:lnTo>
                <a:pt x="0" y="49870"/>
              </a:lnTo>
              <a:lnTo>
                <a:pt x="0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F1BF832-7D6F-4314-8A20-B77ADD6E09FD}">
      <dsp:nvSpPr>
        <dsp:cNvPr id="0" name=""/>
        <dsp:cNvSpPr/>
      </dsp:nvSpPr>
      <dsp:spPr>
        <a:xfrm>
          <a:off x="534311" y="1620179"/>
          <a:ext cx="3497687" cy="99741"/>
        </a:xfrm>
        <a:custGeom>
          <a:avLst/>
          <a:gdLst/>
          <a:ahLst/>
          <a:cxnLst/>
          <a:rect l="0" t="0" r="0" b="0"/>
          <a:pathLst>
            <a:path>
              <a:moveTo>
                <a:pt x="3497687" y="0"/>
              </a:moveTo>
              <a:lnTo>
                <a:pt x="3497687" y="49870"/>
              </a:lnTo>
              <a:lnTo>
                <a:pt x="0" y="49870"/>
              </a:lnTo>
              <a:lnTo>
                <a:pt x="0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D70376-3E3F-43E1-B2C6-956970C172ED}">
      <dsp:nvSpPr>
        <dsp:cNvPr id="0" name=""/>
        <dsp:cNvSpPr/>
      </dsp:nvSpPr>
      <dsp:spPr>
        <a:xfrm>
          <a:off x="3498922" y="993544"/>
          <a:ext cx="1066154" cy="626634"/>
        </a:xfrm>
        <a:prstGeom prst="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Attribute</a:t>
          </a:r>
        </a:p>
      </dsp:txBody>
      <dsp:txXfrm>
        <a:off x="3498922" y="993544"/>
        <a:ext cx="1066154" cy="626634"/>
      </dsp:txXfrm>
    </dsp:sp>
    <dsp:sp modelId="{BCA0F817-645B-4DF6-B98A-68FC4A66FB72}">
      <dsp:nvSpPr>
        <dsp:cNvPr id="0" name=""/>
        <dsp:cNvSpPr/>
      </dsp:nvSpPr>
      <dsp:spPr>
        <a:xfrm>
          <a:off x="123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Verein</a:t>
          </a:r>
        </a:p>
      </dsp:txBody>
      <dsp:txXfrm>
        <a:off x="1234" y="1719920"/>
        <a:ext cx="1066154" cy="626634"/>
      </dsp:txXfrm>
    </dsp:sp>
    <dsp:sp modelId="{919252C1-5E8F-4C1E-8B07-9019D6B598DF}">
      <dsp:nvSpPr>
        <dsp:cNvPr id="0" name=""/>
        <dsp:cNvSpPr/>
      </dsp:nvSpPr>
      <dsp:spPr>
        <a:xfrm>
          <a:off x="116713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Saison</a:t>
          </a:r>
        </a:p>
      </dsp:txBody>
      <dsp:txXfrm>
        <a:off x="1167130" y="1719920"/>
        <a:ext cx="1066154" cy="626634"/>
      </dsp:txXfrm>
    </dsp:sp>
    <dsp:sp modelId="{CB31C50E-0282-4D4F-B0CC-4E9722E2149F}">
      <dsp:nvSpPr>
        <dsp:cNvPr id="0" name=""/>
        <dsp:cNvSpPr/>
      </dsp:nvSpPr>
      <dsp:spPr>
        <a:xfrm>
          <a:off x="2333026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Anzahl Kader</a:t>
          </a:r>
        </a:p>
      </dsp:txBody>
      <dsp:txXfrm>
        <a:off x="2333026" y="1719920"/>
        <a:ext cx="1066154" cy="626634"/>
      </dsp:txXfrm>
    </dsp:sp>
    <dsp:sp modelId="{609EB9A4-2680-422B-ADA3-4CA28FF595B7}">
      <dsp:nvSpPr>
        <dsp:cNvPr id="0" name=""/>
        <dsp:cNvSpPr/>
      </dsp:nvSpPr>
      <dsp:spPr>
        <a:xfrm>
          <a:off x="3498922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Durchschnitts-alter der Spieler</a:t>
          </a:r>
        </a:p>
      </dsp:txBody>
      <dsp:txXfrm>
        <a:off x="3498922" y="1719920"/>
        <a:ext cx="1066154" cy="626634"/>
      </dsp:txXfrm>
    </dsp:sp>
    <dsp:sp modelId="{8A836A0C-FAC7-4158-B0FF-92C12F5D70AB}">
      <dsp:nvSpPr>
        <dsp:cNvPr id="0" name=""/>
        <dsp:cNvSpPr/>
      </dsp:nvSpPr>
      <dsp:spPr>
        <a:xfrm>
          <a:off x="4664818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Anzahl Legionäre</a:t>
          </a:r>
        </a:p>
      </dsp:txBody>
      <dsp:txXfrm>
        <a:off x="4664818" y="1719920"/>
        <a:ext cx="1066154" cy="626634"/>
      </dsp:txXfrm>
    </dsp:sp>
    <dsp:sp modelId="{6E21471F-70DD-425A-96EB-D138019D0017}">
      <dsp:nvSpPr>
        <dsp:cNvPr id="0" name=""/>
        <dsp:cNvSpPr/>
      </dsp:nvSpPr>
      <dsp:spPr>
        <a:xfrm>
          <a:off x="583071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Durchschnittlicher Marktwert</a:t>
          </a:r>
        </a:p>
      </dsp:txBody>
      <dsp:txXfrm>
        <a:off x="5830714" y="1719920"/>
        <a:ext cx="1066154" cy="626634"/>
      </dsp:txXfrm>
    </dsp:sp>
    <dsp:sp modelId="{09F933FE-904C-41E0-8847-5EE14ADC5F19}">
      <dsp:nvSpPr>
        <dsp:cNvPr id="0" name=""/>
        <dsp:cNvSpPr/>
      </dsp:nvSpPr>
      <dsp:spPr>
        <a:xfrm>
          <a:off x="699661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Gesamtmarkt- wert</a:t>
          </a:r>
        </a:p>
      </dsp:txBody>
      <dsp:txXfrm>
        <a:off x="6996610" y="1719920"/>
        <a:ext cx="1066154" cy="626634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C650D1E-3017-4717-95CC-BB314B759F2C}">
      <dsp:nvSpPr>
        <dsp:cNvPr id="0" name=""/>
        <dsp:cNvSpPr/>
      </dsp:nvSpPr>
      <dsp:spPr>
        <a:xfrm>
          <a:off x="4031999" y="1467764"/>
          <a:ext cx="3497687" cy="252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285"/>
              </a:lnTo>
              <a:lnTo>
                <a:pt x="3497687" y="202285"/>
              </a:lnTo>
              <a:lnTo>
                <a:pt x="3497687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5A4952-58DB-4379-A0FF-9CF9AA8B30A9}">
      <dsp:nvSpPr>
        <dsp:cNvPr id="0" name=""/>
        <dsp:cNvSpPr/>
      </dsp:nvSpPr>
      <dsp:spPr>
        <a:xfrm>
          <a:off x="4031999" y="1467764"/>
          <a:ext cx="2331791" cy="252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285"/>
              </a:lnTo>
              <a:lnTo>
                <a:pt x="2331791" y="202285"/>
              </a:lnTo>
              <a:lnTo>
                <a:pt x="2331791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B64A66-98C3-4BB7-B533-49BBD6320137}">
      <dsp:nvSpPr>
        <dsp:cNvPr id="0" name=""/>
        <dsp:cNvSpPr/>
      </dsp:nvSpPr>
      <dsp:spPr>
        <a:xfrm>
          <a:off x="4031999" y="1467764"/>
          <a:ext cx="1165895" cy="252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285"/>
              </a:lnTo>
              <a:lnTo>
                <a:pt x="1165895" y="202285"/>
              </a:lnTo>
              <a:lnTo>
                <a:pt x="1165895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BDEDD73-1A0D-448D-87EC-AF798632099F}">
      <dsp:nvSpPr>
        <dsp:cNvPr id="0" name=""/>
        <dsp:cNvSpPr/>
      </dsp:nvSpPr>
      <dsp:spPr>
        <a:xfrm>
          <a:off x="3986279" y="1467764"/>
          <a:ext cx="91440" cy="252156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66BDE4F-B05F-4DE9-9297-2C646DE2E6AF}">
      <dsp:nvSpPr>
        <dsp:cNvPr id="0" name=""/>
        <dsp:cNvSpPr/>
      </dsp:nvSpPr>
      <dsp:spPr>
        <a:xfrm>
          <a:off x="2866103" y="1467764"/>
          <a:ext cx="1165895" cy="252156"/>
        </a:xfrm>
        <a:custGeom>
          <a:avLst/>
          <a:gdLst/>
          <a:ahLst/>
          <a:cxnLst/>
          <a:rect l="0" t="0" r="0" b="0"/>
          <a:pathLst>
            <a:path>
              <a:moveTo>
                <a:pt x="1165895" y="0"/>
              </a:moveTo>
              <a:lnTo>
                <a:pt x="1165895" y="202285"/>
              </a:lnTo>
              <a:lnTo>
                <a:pt x="0" y="202285"/>
              </a:lnTo>
              <a:lnTo>
                <a:pt x="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8E588E-D810-43F6-B8D0-371D7DDA551F}">
      <dsp:nvSpPr>
        <dsp:cNvPr id="0" name=""/>
        <dsp:cNvSpPr/>
      </dsp:nvSpPr>
      <dsp:spPr>
        <a:xfrm>
          <a:off x="1700207" y="1467764"/>
          <a:ext cx="2331791" cy="252156"/>
        </a:xfrm>
        <a:custGeom>
          <a:avLst/>
          <a:gdLst/>
          <a:ahLst/>
          <a:cxnLst/>
          <a:rect l="0" t="0" r="0" b="0"/>
          <a:pathLst>
            <a:path>
              <a:moveTo>
                <a:pt x="2331791" y="0"/>
              </a:moveTo>
              <a:lnTo>
                <a:pt x="2331791" y="202285"/>
              </a:lnTo>
              <a:lnTo>
                <a:pt x="0" y="202285"/>
              </a:lnTo>
              <a:lnTo>
                <a:pt x="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F1BF832-7D6F-4314-8A20-B77ADD6E09FD}">
      <dsp:nvSpPr>
        <dsp:cNvPr id="0" name=""/>
        <dsp:cNvSpPr/>
      </dsp:nvSpPr>
      <dsp:spPr>
        <a:xfrm>
          <a:off x="534311" y="1467764"/>
          <a:ext cx="3497687" cy="252156"/>
        </a:xfrm>
        <a:custGeom>
          <a:avLst/>
          <a:gdLst/>
          <a:ahLst/>
          <a:cxnLst/>
          <a:rect l="0" t="0" r="0" b="0"/>
          <a:pathLst>
            <a:path>
              <a:moveTo>
                <a:pt x="3497687" y="0"/>
              </a:moveTo>
              <a:lnTo>
                <a:pt x="3497687" y="202285"/>
              </a:lnTo>
              <a:lnTo>
                <a:pt x="0" y="202285"/>
              </a:lnTo>
              <a:lnTo>
                <a:pt x="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D70376-3E3F-43E1-B2C6-956970C172ED}">
      <dsp:nvSpPr>
        <dsp:cNvPr id="0" name=""/>
        <dsp:cNvSpPr/>
      </dsp:nvSpPr>
      <dsp:spPr>
        <a:xfrm>
          <a:off x="3498922" y="841129"/>
          <a:ext cx="1066154" cy="626634"/>
        </a:xfrm>
        <a:prstGeom prst="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Attribute</a:t>
          </a:r>
        </a:p>
      </dsp:txBody>
      <dsp:txXfrm>
        <a:off x="3498922" y="841129"/>
        <a:ext cx="1066154" cy="626634"/>
      </dsp:txXfrm>
    </dsp:sp>
    <dsp:sp modelId="{BCA0F817-645B-4DF6-B98A-68FC4A66FB72}">
      <dsp:nvSpPr>
        <dsp:cNvPr id="0" name=""/>
        <dsp:cNvSpPr/>
      </dsp:nvSpPr>
      <dsp:spPr>
        <a:xfrm>
          <a:off x="123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Verein</a:t>
          </a:r>
        </a:p>
      </dsp:txBody>
      <dsp:txXfrm>
        <a:off x="1234" y="1719920"/>
        <a:ext cx="1066154" cy="626634"/>
      </dsp:txXfrm>
    </dsp:sp>
    <dsp:sp modelId="{919252C1-5E8F-4C1E-8B07-9019D6B598DF}">
      <dsp:nvSpPr>
        <dsp:cNvPr id="0" name=""/>
        <dsp:cNvSpPr/>
      </dsp:nvSpPr>
      <dsp:spPr>
        <a:xfrm>
          <a:off x="116713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Durchschnittsalter der Zugänge</a:t>
          </a:r>
        </a:p>
      </dsp:txBody>
      <dsp:txXfrm>
        <a:off x="1167130" y="1719920"/>
        <a:ext cx="1066154" cy="626634"/>
      </dsp:txXfrm>
    </dsp:sp>
    <dsp:sp modelId="{CB31C50E-0282-4D4F-B0CC-4E9722E2149F}">
      <dsp:nvSpPr>
        <dsp:cNvPr id="0" name=""/>
        <dsp:cNvSpPr/>
      </dsp:nvSpPr>
      <dsp:spPr>
        <a:xfrm>
          <a:off x="2333026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Durchschnittsalter der Abgänge</a:t>
          </a:r>
        </a:p>
      </dsp:txBody>
      <dsp:txXfrm>
        <a:off x="2333026" y="1719920"/>
        <a:ext cx="1066154" cy="626634"/>
      </dsp:txXfrm>
    </dsp:sp>
    <dsp:sp modelId="{609EB9A4-2680-422B-ADA3-4CA28FF595B7}">
      <dsp:nvSpPr>
        <dsp:cNvPr id="0" name=""/>
        <dsp:cNvSpPr/>
      </dsp:nvSpPr>
      <dsp:spPr>
        <a:xfrm>
          <a:off x="3498922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Gesamtmarktwert der Zugänge in Mio.</a:t>
          </a:r>
        </a:p>
      </dsp:txBody>
      <dsp:txXfrm>
        <a:off x="3498922" y="1719920"/>
        <a:ext cx="1066154" cy="626634"/>
      </dsp:txXfrm>
    </dsp:sp>
    <dsp:sp modelId="{8A836A0C-FAC7-4158-B0FF-92C12F5D70AB}">
      <dsp:nvSpPr>
        <dsp:cNvPr id="0" name=""/>
        <dsp:cNvSpPr/>
      </dsp:nvSpPr>
      <dsp:spPr>
        <a:xfrm>
          <a:off x="4664818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Gesamtmarktwert der Abgänge in Mio.</a:t>
          </a:r>
        </a:p>
      </dsp:txBody>
      <dsp:txXfrm>
        <a:off x="4664818" y="1719920"/>
        <a:ext cx="1066154" cy="626634"/>
      </dsp:txXfrm>
    </dsp:sp>
    <dsp:sp modelId="{6E21471F-70DD-425A-96EB-D138019D0017}">
      <dsp:nvSpPr>
        <dsp:cNvPr id="0" name=""/>
        <dsp:cNvSpPr/>
      </dsp:nvSpPr>
      <dsp:spPr>
        <a:xfrm>
          <a:off x="583071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Ausgaben durch Zugänge in Mio.</a:t>
          </a:r>
        </a:p>
      </dsp:txBody>
      <dsp:txXfrm>
        <a:off x="5830714" y="1719920"/>
        <a:ext cx="1066154" cy="626634"/>
      </dsp:txXfrm>
    </dsp:sp>
    <dsp:sp modelId="{09F933FE-904C-41E0-8847-5EE14ADC5F19}">
      <dsp:nvSpPr>
        <dsp:cNvPr id="0" name=""/>
        <dsp:cNvSpPr/>
      </dsp:nvSpPr>
      <dsp:spPr>
        <a:xfrm>
          <a:off x="699661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Einnahmen durch Abgänge in Mio.</a:t>
          </a:r>
        </a:p>
      </dsp:txBody>
      <dsp:txXfrm>
        <a:off x="6996610" y="1719920"/>
        <a:ext cx="1066154" cy="626634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C7F4E16-96FE-497B-BF0B-5656787227AF}">
      <dsp:nvSpPr>
        <dsp:cNvPr id="0" name=""/>
        <dsp:cNvSpPr/>
      </dsp:nvSpPr>
      <dsp:spPr>
        <a:xfrm>
          <a:off x="4031999" y="1467764"/>
          <a:ext cx="3497687" cy="252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285"/>
              </a:lnTo>
              <a:lnTo>
                <a:pt x="3497687" y="202285"/>
              </a:lnTo>
              <a:lnTo>
                <a:pt x="3497687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5A4952-58DB-4379-A0FF-9CF9AA8B30A9}">
      <dsp:nvSpPr>
        <dsp:cNvPr id="0" name=""/>
        <dsp:cNvSpPr/>
      </dsp:nvSpPr>
      <dsp:spPr>
        <a:xfrm>
          <a:off x="4031999" y="1467764"/>
          <a:ext cx="2331791" cy="252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285"/>
              </a:lnTo>
              <a:lnTo>
                <a:pt x="2331791" y="202285"/>
              </a:lnTo>
              <a:lnTo>
                <a:pt x="2331791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B64A66-98C3-4BB7-B533-49BBD6320137}">
      <dsp:nvSpPr>
        <dsp:cNvPr id="0" name=""/>
        <dsp:cNvSpPr/>
      </dsp:nvSpPr>
      <dsp:spPr>
        <a:xfrm>
          <a:off x="4031999" y="1467764"/>
          <a:ext cx="1165895" cy="252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285"/>
              </a:lnTo>
              <a:lnTo>
                <a:pt x="1165895" y="202285"/>
              </a:lnTo>
              <a:lnTo>
                <a:pt x="1165895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BDEDD73-1A0D-448D-87EC-AF798632099F}">
      <dsp:nvSpPr>
        <dsp:cNvPr id="0" name=""/>
        <dsp:cNvSpPr/>
      </dsp:nvSpPr>
      <dsp:spPr>
        <a:xfrm>
          <a:off x="3986279" y="1467764"/>
          <a:ext cx="91440" cy="252156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66BDE4F-B05F-4DE9-9297-2C646DE2E6AF}">
      <dsp:nvSpPr>
        <dsp:cNvPr id="0" name=""/>
        <dsp:cNvSpPr/>
      </dsp:nvSpPr>
      <dsp:spPr>
        <a:xfrm>
          <a:off x="2866103" y="1467764"/>
          <a:ext cx="1165895" cy="252156"/>
        </a:xfrm>
        <a:custGeom>
          <a:avLst/>
          <a:gdLst/>
          <a:ahLst/>
          <a:cxnLst/>
          <a:rect l="0" t="0" r="0" b="0"/>
          <a:pathLst>
            <a:path>
              <a:moveTo>
                <a:pt x="1165895" y="0"/>
              </a:moveTo>
              <a:lnTo>
                <a:pt x="1165895" y="202285"/>
              </a:lnTo>
              <a:lnTo>
                <a:pt x="0" y="202285"/>
              </a:lnTo>
              <a:lnTo>
                <a:pt x="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8E588E-D810-43F6-B8D0-371D7DDA551F}">
      <dsp:nvSpPr>
        <dsp:cNvPr id="0" name=""/>
        <dsp:cNvSpPr/>
      </dsp:nvSpPr>
      <dsp:spPr>
        <a:xfrm>
          <a:off x="1700207" y="1467764"/>
          <a:ext cx="2331791" cy="252156"/>
        </a:xfrm>
        <a:custGeom>
          <a:avLst/>
          <a:gdLst/>
          <a:ahLst/>
          <a:cxnLst/>
          <a:rect l="0" t="0" r="0" b="0"/>
          <a:pathLst>
            <a:path>
              <a:moveTo>
                <a:pt x="2331791" y="0"/>
              </a:moveTo>
              <a:lnTo>
                <a:pt x="2331791" y="202285"/>
              </a:lnTo>
              <a:lnTo>
                <a:pt x="0" y="202285"/>
              </a:lnTo>
              <a:lnTo>
                <a:pt x="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F1BF832-7D6F-4314-8A20-B77ADD6E09FD}">
      <dsp:nvSpPr>
        <dsp:cNvPr id="0" name=""/>
        <dsp:cNvSpPr/>
      </dsp:nvSpPr>
      <dsp:spPr>
        <a:xfrm>
          <a:off x="534311" y="1467764"/>
          <a:ext cx="3497687" cy="252156"/>
        </a:xfrm>
        <a:custGeom>
          <a:avLst/>
          <a:gdLst/>
          <a:ahLst/>
          <a:cxnLst/>
          <a:rect l="0" t="0" r="0" b="0"/>
          <a:pathLst>
            <a:path>
              <a:moveTo>
                <a:pt x="3497687" y="0"/>
              </a:moveTo>
              <a:lnTo>
                <a:pt x="3497687" y="202285"/>
              </a:lnTo>
              <a:lnTo>
                <a:pt x="0" y="202285"/>
              </a:lnTo>
              <a:lnTo>
                <a:pt x="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D70376-3E3F-43E1-B2C6-956970C172ED}">
      <dsp:nvSpPr>
        <dsp:cNvPr id="0" name=""/>
        <dsp:cNvSpPr/>
      </dsp:nvSpPr>
      <dsp:spPr>
        <a:xfrm>
          <a:off x="3498922" y="841129"/>
          <a:ext cx="1066154" cy="626634"/>
        </a:xfrm>
        <a:prstGeom prst="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Attribute</a:t>
          </a:r>
        </a:p>
      </dsp:txBody>
      <dsp:txXfrm>
        <a:off x="3498922" y="841129"/>
        <a:ext cx="1066154" cy="626634"/>
      </dsp:txXfrm>
    </dsp:sp>
    <dsp:sp modelId="{BCA0F817-645B-4DF6-B98A-68FC4A66FB72}">
      <dsp:nvSpPr>
        <dsp:cNvPr id="0" name=""/>
        <dsp:cNvSpPr/>
      </dsp:nvSpPr>
      <dsp:spPr>
        <a:xfrm>
          <a:off x="123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Wetterstation</a:t>
          </a:r>
        </a:p>
      </dsp:txBody>
      <dsp:txXfrm>
        <a:off x="1234" y="1719920"/>
        <a:ext cx="1066154" cy="626634"/>
      </dsp:txXfrm>
    </dsp:sp>
    <dsp:sp modelId="{919252C1-5E8F-4C1E-8B07-9019D6B598DF}">
      <dsp:nvSpPr>
        <dsp:cNvPr id="0" name=""/>
        <dsp:cNvSpPr/>
      </dsp:nvSpPr>
      <dsp:spPr>
        <a:xfrm>
          <a:off x="116713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Mindest-temperatur pro Tag in C°</a:t>
          </a:r>
        </a:p>
      </dsp:txBody>
      <dsp:txXfrm>
        <a:off x="1167130" y="1719920"/>
        <a:ext cx="1066154" cy="626634"/>
      </dsp:txXfrm>
    </dsp:sp>
    <dsp:sp modelId="{CB31C50E-0282-4D4F-B0CC-4E9722E2149F}">
      <dsp:nvSpPr>
        <dsp:cNvPr id="0" name=""/>
        <dsp:cNvSpPr/>
      </dsp:nvSpPr>
      <dsp:spPr>
        <a:xfrm>
          <a:off x="2333026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Maximal-temperatur pro Tag in C°</a:t>
          </a:r>
        </a:p>
      </dsp:txBody>
      <dsp:txXfrm>
        <a:off x="2333026" y="1719920"/>
        <a:ext cx="1066154" cy="626634"/>
      </dsp:txXfrm>
    </dsp:sp>
    <dsp:sp modelId="{609EB9A4-2680-422B-ADA3-4CA28FF595B7}">
      <dsp:nvSpPr>
        <dsp:cNvPr id="0" name=""/>
        <dsp:cNvSpPr/>
      </dsp:nvSpPr>
      <dsp:spPr>
        <a:xfrm>
          <a:off x="3498922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Schneehöhe in cm</a:t>
          </a:r>
        </a:p>
      </dsp:txBody>
      <dsp:txXfrm>
        <a:off x="3498922" y="1719920"/>
        <a:ext cx="1066154" cy="626634"/>
      </dsp:txXfrm>
    </dsp:sp>
    <dsp:sp modelId="{8A836A0C-FAC7-4158-B0FF-92C12F5D70AB}">
      <dsp:nvSpPr>
        <dsp:cNvPr id="0" name=""/>
        <dsp:cNvSpPr/>
      </dsp:nvSpPr>
      <dsp:spPr>
        <a:xfrm>
          <a:off x="4664818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Niederschlags-menge in l/m^2</a:t>
          </a:r>
        </a:p>
      </dsp:txBody>
      <dsp:txXfrm>
        <a:off x="4664818" y="1719920"/>
        <a:ext cx="1066154" cy="626634"/>
      </dsp:txXfrm>
    </dsp:sp>
    <dsp:sp modelId="{6E21471F-70DD-425A-96EB-D138019D0017}">
      <dsp:nvSpPr>
        <dsp:cNvPr id="0" name=""/>
        <dsp:cNvSpPr/>
      </dsp:nvSpPr>
      <dsp:spPr>
        <a:xfrm>
          <a:off x="583071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Sonnenschein-dauer in Stunden</a:t>
          </a:r>
        </a:p>
      </dsp:txBody>
      <dsp:txXfrm>
        <a:off x="5830714" y="1719920"/>
        <a:ext cx="1066154" cy="626634"/>
      </dsp:txXfrm>
    </dsp:sp>
    <dsp:sp modelId="{ABA442A2-AB17-4DFA-A6A0-AF866B22BE45}">
      <dsp:nvSpPr>
        <dsp:cNvPr id="0" name=""/>
        <dsp:cNvSpPr/>
      </dsp:nvSpPr>
      <dsp:spPr>
        <a:xfrm>
          <a:off x="699661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Datum</a:t>
          </a:r>
        </a:p>
      </dsp:txBody>
      <dsp:txXfrm>
        <a:off x="6996610" y="1719920"/>
        <a:ext cx="1066154" cy="626634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81C4271-97C9-4585-AD8B-C94394E078D9}">
      <dsp:nvSpPr>
        <dsp:cNvPr id="0" name=""/>
        <dsp:cNvSpPr/>
      </dsp:nvSpPr>
      <dsp:spPr>
        <a:xfrm>
          <a:off x="604799" y="0"/>
          <a:ext cx="6854399" cy="4528382"/>
        </a:xfrm>
        <a:prstGeom prst="rightArrow">
          <a:avLst/>
        </a:prstGeom>
        <a:solidFill>
          <a:schemeClr val="dk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807AEA5-AB65-4BF0-8E8B-E03980A323BA}">
      <dsp:nvSpPr>
        <dsp:cNvPr id="0" name=""/>
        <dsp:cNvSpPr/>
      </dsp:nvSpPr>
      <dsp:spPr>
        <a:xfrm>
          <a:off x="3543" y="1358514"/>
          <a:ext cx="1549406" cy="1811352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 dirty="0"/>
            <a:t>Auslagern von Web-</a:t>
          </a:r>
          <a:r>
            <a:rPr lang="de-DE" sz="1300" kern="1200" dirty="0" err="1"/>
            <a:t>Scraping</a:t>
          </a:r>
          <a:r>
            <a:rPr lang="de-DE" sz="1300" kern="1200" dirty="0"/>
            <a:t>-Code in separate Python-Dateien</a:t>
          </a:r>
        </a:p>
      </dsp:txBody>
      <dsp:txXfrm>
        <a:off x="79179" y="1434150"/>
        <a:ext cx="1398134" cy="1660080"/>
      </dsp:txXfrm>
    </dsp:sp>
    <dsp:sp modelId="{83AA8CCA-D335-4A93-AC1C-330B5DA904F3}">
      <dsp:nvSpPr>
        <dsp:cNvPr id="0" name=""/>
        <dsp:cNvSpPr/>
      </dsp:nvSpPr>
      <dsp:spPr>
        <a:xfrm>
          <a:off x="1630420" y="1358514"/>
          <a:ext cx="1549406" cy="1811352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 dirty="0"/>
            <a:t>Features berechnen, welche aktuelle Form der Teams beschreiben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000" kern="1200"/>
            <a:t>z. B. Siege, Unentschieden und Niederlagen in den letzten x Spielen</a:t>
          </a:r>
        </a:p>
      </dsp:txBody>
      <dsp:txXfrm>
        <a:off x="1706056" y="1434150"/>
        <a:ext cx="1398134" cy="1660080"/>
      </dsp:txXfrm>
    </dsp:sp>
    <dsp:sp modelId="{D18F99D5-99F8-4161-9EB2-CB4843E7331F}">
      <dsp:nvSpPr>
        <dsp:cNvPr id="0" name=""/>
        <dsp:cNvSpPr/>
      </dsp:nvSpPr>
      <dsp:spPr>
        <a:xfrm>
          <a:off x="3257296" y="1358514"/>
          <a:ext cx="1549406" cy="1811352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/>
            <a:t>Statistische Datenanalyse</a:t>
          </a:r>
        </a:p>
      </dsp:txBody>
      <dsp:txXfrm>
        <a:off x="3332932" y="1434150"/>
        <a:ext cx="1398134" cy="1660080"/>
      </dsp:txXfrm>
    </dsp:sp>
    <dsp:sp modelId="{8709D373-8470-4F0A-B3DA-319DD3871C6E}">
      <dsp:nvSpPr>
        <dsp:cNvPr id="0" name=""/>
        <dsp:cNvSpPr/>
      </dsp:nvSpPr>
      <dsp:spPr>
        <a:xfrm>
          <a:off x="4884172" y="1358514"/>
          <a:ext cx="1549406" cy="1811352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/>
            <a:t>Feature Engineering und Modelling</a:t>
          </a:r>
        </a:p>
      </dsp:txBody>
      <dsp:txXfrm>
        <a:off x="4959808" y="1434150"/>
        <a:ext cx="1398134" cy="1660080"/>
      </dsp:txXfrm>
    </dsp:sp>
    <dsp:sp modelId="{1B95D6BE-54AC-486B-960D-5BBA9E945FAA}">
      <dsp:nvSpPr>
        <dsp:cNvPr id="0" name=""/>
        <dsp:cNvSpPr/>
      </dsp:nvSpPr>
      <dsp:spPr>
        <a:xfrm>
          <a:off x="6511049" y="1358514"/>
          <a:ext cx="1549406" cy="1811352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/>
            <a:t>Modellevaluation und Benchmarking</a:t>
          </a:r>
        </a:p>
      </dsp:txBody>
      <dsp:txXfrm>
        <a:off x="6586685" y="1434150"/>
        <a:ext cx="1398134" cy="166008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0" y="0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177338"/>
            <a:ext cx="2971800" cy="484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9177338"/>
            <a:ext cx="2971800" cy="484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fld id="{D54606BC-1185-6343-8CD4-1A7CC7DA3AB6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39445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Rectangle 1028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2081213" y="536575"/>
            <a:ext cx="11022013" cy="82661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 val="1"/>
            </a:ext>
          </a:extLst>
        </p:spPr>
      </p:sp>
      <p:sp>
        <p:nvSpPr>
          <p:cNvPr id="8197" name="Rectangle 1029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85750" y="8910638"/>
            <a:ext cx="6286500" cy="430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Klicken Sie, um die Textformatierung des Masters zu bearbeiten.</a:t>
            </a:r>
          </a:p>
        </p:txBody>
      </p:sp>
    </p:spTree>
    <p:extLst>
      <p:ext uri="{BB962C8B-B14F-4D97-AF65-F5344CB8AC3E}">
        <p14:creationId xmlns:p14="http://schemas.microsoft.com/office/powerpoint/2010/main" val="161221817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1pPr>
    <a:lvl2pPr marL="4572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2pPr>
    <a:lvl3pPr marL="9144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3pPr>
    <a:lvl4pPr marL="13716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4pPr>
    <a:lvl5pPr marL="18288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8064499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51353095"/>
      </p:ext>
    </p:extLst>
  </p:cSld>
  <p:clrMapOvr>
    <a:masterClrMapping/>
  </p:clrMapOvr>
  <p:transition>
    <p:dissolv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8063999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875893249"/>
      </p:ext>
    </p:extLst>
  </p:cSld>
  <p:clrMapOvr>
    <a:masterClrMapping/>
  </p:clrMapOvr>
  <p:transition>
    <p:dissolv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C)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378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C62EF3F6-F6E9-5042-B877-596582C374A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857087" y="1448672"/>
            <a:ext cx="378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80715932"/>
      </p:ext>
    </p:extLst>
  </p:cSld>
  <p:clrMapOvr>
    <a:masterClrMapping/>
  </p:clrMapOvr>
  <p:transition>
    <p:dissolv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9CB60196-2670-1E4E-9B83-83B9D30D80D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378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C217A189-E2FB-3F4B-ABCD-C8FBBA962B5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857087" y="1448672"/>
            <a:ext cx="378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644154500"/>
      </p:ext>
    </p:extLst>
  </p:cSld>
  <p:clrMapOvr>
    <a:masterClrMapping/>
  </p:clrMapOvr>
  <p:transition>
    <p:dissolv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3C)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C62EF3F6-F6E9-5042-B877-596582C374A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345088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A9BF1D72-C7DA-844D-9D02-3A0622DC17DB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117087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51576585"/>
      </p:ext>
    </p:extLst>
  </p:cSld>
  <p:clrMapOvr>
    <a:masterClrMapping/>
  </p:clrMapOvr>
  <p:transition>
    <p:dissolv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3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24035B5A-D131-9E43-8819-54D8C7C5F65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DA824A7B-3A0B-A54A-AD70-3A727E9C6539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45088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B1B37D4C-618B-A04F-93D5-96AD3167BFE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117087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08082518"/>
      </p:ext>
    </p:extLst>
  </p:cSld>
  <p:clrMapOvr>
    <a:masterClrMapping/>
  </p:clrMapOvr>
  <p:transition>
    <p:dissolv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Go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D5A821F-471D-1642-8AAE-398D4B6F271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8064499" cy="41358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="1">
                <a:solidFill>
                  <a:srgbClr val="00377E"/>
                </a:solidFill>
              </a:defRPr>
            </a:lvl1pPr>
            <a:lvl2pPr marL="379413" indent="0">
              <a:buNone/>
              <a:defRPr/>
            </a:lvl2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F5863112-C4A3-094E-881C-56CF812BDF6F}"/>
              </a:ext>
            </a:extLst>
          </p:cNvPr>
          <p:cNvSpPr/>
          <p:nvPr userDrawn="1"/>
        </p:nvSpPr>
        <p:spPr>
          <a:xfrm>
            <a:off x="818830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E97FCA0C-BD0E-3D4B-883C-D081A0BBAB0C}"/>
              </a:ext>
            </a:extLst>
          </p:cNvPr>
          <p:cNvSpPr/>
          <p:nvPr userDrawn="1"/>
        </p:nvSpPr>
        <p:spPr>
          <a:xfrm>
            <a:off x="689998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rgbClr val="00377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D0E4C74F-F834-ED46-9242-187CBB5BBB12}"/>
              </a:ext>
            </a:extLst>
          </p:cNvPr>
          <p:cNvSpPr/>
          <p:nvPr userDrawn="1"/>
        </p:nvSpPr>
        <p:spPr>
          <a:xfrm>
            <a:off x="577186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79792184-303E-1043-881E-83B8E522119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42868" y="3411105"/>
            <a:ext cx="1093612" cy="1013507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CDB0E940-A14D-C04F-A21F-2693423BA694}"/>
              </a:ext>
            </a:extLst>
          </p:cNvPr>
          <p:cNvSpPr/>
          <p:nvPr userDrawn="1"/>
        </p:nvSpPr>
        <p:spPr bwMode="auto">
          <a:xfrm>
            <a:off x="571900" y="1862262"/>
            <a:ext cx="8064499" cy="4140000"/>
          </a:xfrm>
          <a:prstGeom prst="rect">
            <a:avLst/>
          </a:prstGeom>
          <a:noFill/>
          <a:ln w="28575" cap="flat" cmpd="sng" algn="ctr">
            <a:solidFill>
              <a:srgbClr val="0037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34BCB425-150D-BB43-8D50-06323DF2783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372638" y="1862138"/>
            <a:ext cx="6263362" cy="4140200"/>
          </a:xfrm>
          <a:prstGeom prst="rect">
            <a:avLst/>
          </a:prstGeom>
        </p:spPr>
        <p:txBody>
          <a:bodyPr lIns="180000" tIns="360000" bIns="360000"/>
          <a:lstStyle/>
          <a:p>
            <a:pPr lvl="0"/>
            <a:r>
              <a:rPr lang="de-DE" dirty="0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9760585"/>
      </p:ext>
    </p:extLst>
  </p:cSld>
  <p:clrMapOvr>
    <a:masterClrMapping/>
  </p:clrMapOvr>
  <p:transition>
    <p:dissolv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D5A821F-471D-1642-8AAE-398D4B6F271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8064499" cy="41358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="1">
                <a:solidFill>
                  <a:srgbClr val="00377E"/>
                </a:solidFill>
              </a:defRPr>
            </a:lvl1pPr>
            <a:lvl2pPr marL="379413" indent="0">
              <a:buNone/>
              <a:defRPr/>
            </a:lvl2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F5863112-C4A3-094E-881C-56CF812BDF6F}"/>
              </a:ext>
            </a:extLst>
          </p:cNvPr>
          <p:cNvSpPr/>
          <p:nvPr userDrawn="1"/>
        </p:nvSpPr>
        <p:spPr>
          <a:xfrm>
            <a:off x="818830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E97FCA0C-BD0E-3D4B-883C-D081A0BBAB0C}"/>
              </a:ext>
            </a:extLst>
          </p:cNvPr>
          <p:cNvSpPr/>
          <p:nvPr userDrawn="1"/>
        </p:nvSpPr>
        <p:spPr>
          <a:xfrm>
            <a:off x="689998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rgbClr val="00377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D0E4C74F-F834-ED46-9242-187CBB5BBB12}"/>
              </a:ext>
            </a:extLst>
          </p:cNvPr>
          <p:cNvSpPr/>
          <p:nvPr userDrawn="1"/>
        </p:nvSpPr>
        <p:spPr>
          <a:xfrm>
            <a:off x="577186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CDB0E940-A14D-C04F-A21F-2693423BA694}"/>
              </a:ext>
            </a:extLst>
          </p:cNvPr>
          <p:cNvSpPr/>
          <p:nvPr userDrawn="1"/>
        </p:nvSpPr>
        <p:spPr bwMode="auto">
          <a:xfrm>
            <a:off x="571900" y="1862262"/>
            <a:ext cx="8064499" cy="4140000"/>
          </a:xfrm>
          <a:prstGeom prst="rect">
            <a:avLst/>
          </a:prstGeom>
          <a:noFill/>
          <a:ln w="28575" cap="flat" cmpd="sng" algn="ctr">
            <a:solidFill>
              <a:srgbClr val="0037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34BCB425-150D-BB43-8D50-06323DF2783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372638" y="1862138"/>
            <a:ext cx="6263362" cy="4140200"/>
          </a:xfrm>
          <a:prstGeom prst="rect">
            <a:avLst/>
          </a:prstGeom>
        </p:spPr>
        <p:txBody>
          <a:bodyPr lIns="180000" tIns="360000" bIns="360000"/>
          <a:lstStyle/>
          <a:p>
            <a:pPr lvl="0"/>
            <a:r>
              <a:rPr lang="de-DE" dirty="0"/>
              <a:t>Text</a:t>
            </a:r>
            <a:endParaRPr lang="en-GB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CFADCD90-1538-794F-94D7-D1B6833F7FD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99807" y="3503148"/>
            <a:ext cx="1154458" cy="802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2341426"/>
      </p:ext>
    </p:extLst>
  </p:cSld>
  <p:clrMapOvr>
    <a:masterClrMapping/>
  </p:clrMapOvr>
  <p:transition>
    <p:dissolv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298" name="Picture 2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117" name="Rectangle 21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573088" y="183600"/>
            <a:ext cx="8074025" cy="36933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</a:extLst>
        </p:spPr>
        <p:txBody>
          <a:bodyPr lIns="0" anchor="ctr"/>
          <a:lstStyle>
            <a:lvl1pPr>
              <a:defRPr/>
            </a:lvl1pPr>
          </a:lstStyle>
          <a:p>
            <a:pPr lvl="0"/>
            <a:r>
              <a:rPr lang="en-GB" noProof="0" dirty="0"/>
              <a:t>Title</a:t>
            </a:r>
          </a:p>
        </p:txBody>
      </p:sp>
      <p:sp>
        <p:nvSpPr>
          <p:cNvPr id="8" name="Abgerundetes Rechteck 2"/>
          <p:cNvSpPr/>
          <p:nvPr userDrawn="1"/>
        </p:nvSpPr>
        <p:spPr bwMode="auto">
          <a:xfrm>
            <a:off x="7024687" y="5947200"/>
            <a:ext cx="2119313" cy="910800"/>
          </a:xfrm>
          <a:custGeom>
            <a:avLst/>
            <a:gdLst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632783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2632783 w 2632783"/>
              <a:gd name="connsiteY0" fmla="*/ 867082 h 1260000"/>
              <a:gd name="connsiteX1" fmla="*/ 2239865 w 2632783"/>
              <a:gd name="connsiteY1" fmla="*/ 1260000 h 1260000"/>
              <a:gd name="connsiteX2" fmla="*/ 392918 w 2632783"/>
              <a:gd name="connsiteY2" fmla="*/ 1260000 h 1260000"/>
              <a:gd name="connsiteX3" fmla="*/ 0 w 2632783"/>
              <a:gd name="connsiteY3" fmla="*/ 867082 h 1260000"/>
              <a:gd name="connsiteX4" fmla="*/ 0 w 2632783"/>
              <a:gd name="connsiteY4" fmla="*/ 392918 h 1260000"/>
              <a:gd name="connsiteX5" fmla="*/ 392918 w 2632783"/>
              <a:gd name="connsiteY5" fmla="*/ 0 h 1260000"/>
              <a:gd name="connsiteX6" fmla="*/ 2239865 w 2632783"/>
              <a:gd name="connsiteY6" fmla="*/ 0 h 1260000"/>
              <a:gd name="connsiteX7" fmla="*/ 2499140 w 2632783"/>
              <a:gd name="connsiteY7" fmla="*/ 484358 h 1260000"/>
              <a:gd name="connsiteX0" fmla="*/ 2239865 w 2499140"/>
              <a:gd name="connsiteY0" fmla="*/ 1260000 h 1260000"/>
              <a:gd name="connsiteX1" fmla="*/ 392918 w 2499140"/>
              <a:gd name="connsiteY1" fmla="*/ 1260000 h 1260000"/>
              <a:gd name="connsiteX2" fmla="*/ 0 w 2499140"/>
              <a:gd name="connsiteY2" fmla="*/ 867082 h 1260000"/>
              <a:gd name="connsiteX3" fmla="*/ 0 w 2499140"/>
              <a:gd name="connsiteY3" fmla="*/ 392918 h 1260000"/>
              <a:gd name="connsiteX4" fmla="*/ 392918 w 2499140"/>
              <a:gd name="connsiteY4" fmla="*/ 0 h 1260000"/>
              <a:gd name="connsiteX5" fmla="*/ 2239865 w 2499140"/>
              <a:gd name="connsiteY5" fmla="*/ 0 h 1260000"/>
              <a:gd name="connsiteX6" fmla="*/ 2499140 w 2499140"/>
              <a:gd name="connsiteY6" fmla="*/ 484358 h 1260000"/>
              <a:gd name="connsiteX0" fmla="*/ 2239865 w 2239865"/>
              <a:gd name="connsiteY0" fmla="*/ 1260000 h 1260000"/>
              <a:gd name="connsiteX1" fmla="*/ 392918 w 2239865"/>
              <a:gd name="connsiteY1" fmla="*/ 1260000 h 1260000"/>
              <a:gd name="connsiteX2" fmla="*/ 0 w 2239865"/>
              <a:gd name="connsiteY2" fmla="*/ 867082 h 1260000"/>
              <a:gd name="connsiteX3" fmla="*/ 0 w 2239865"/>
              <a:gd name="connsiteY3" fmla="*/ 392918 h 1260000"/>
              <a:gd name="connsiteX4" fmla="*/ 392918 w 2239865"/>
              <a:gd name="connsiteY4" fmla="*/ 0 h 1260000"/>
              <a:gd name="connsiteX5" fmla="*/ 2239865 w 2239865"/>
              <a:gd name="connsiteY5" fmla="*/ 0 h 1260000"/>
              <a:gd name="connsiteX0" fmla="*/ 2239865 w 2239865"/>
              <a:gd name="connsiteY0" fmla="*/ 1260000 h 1260000"/>
              <a:gd name="connsiteX1" fmla="*/ 0 w 2239865"/>
              <a:gd name="connsiteY1" fmla="*/ 867082 h 1260000"/>
              <a:gd name="connsiteX2" fmla="*/ 0 w 2239865"/>
              <a:gd name="connsiteY2" fmla="*/ 392918 h 1260000"/>
              <a:gd name="connsiteX3" fmla="*/ 392918 w 2239865"/>
              <a:gd name="connsiteY3" fmla="*/ 0 h 1260000"/>
              <a:gd name="connsiteX4" fmla="*/ 2239865 w 2239865"/>
              <a:gd name="connsiteY4" fmla="*/ 0 h 1260000"/>
              <a:gd name="connsiteX0" fmla="*/ 2239865 w 2239865"/>
              <a:gd name="connsiteY0" fmla="*/ 894240 h 894240"/>
              <a:gd name="connsiteX1" fmla="*/ 0 w 2239865"/>
              <a:gd name="connsiteY1" fmla="*/ 867082 h 894240"/>
              <a:gd name="connsiteX2" fmla="*/ 0 w 2239865"/>
              <a:gd name="connsiteY2" fmla="*/ 392918 h 894240"/>
              <a:gd name="connsiteX3" fmla="*/ 392918 w 2239865"/>
              <a:gd name="connsiteY3" fmla="*/ 0 h 894240"/>
              <a:gd name="connsiteX4" fmla="*/ 2239865 w 2239865"/>
              <a:gd name="connsiteY4" fmla="*/ 0 h 894240"/>
              <a:gd name="connsiteX0" fmla="*/ 2253933 w 2253933"/>
              <a:gd name="connsiteY0" fmla="*/ 873139 h 873139"/>
              <a:gd name="connsiteX1" fmla="*/ 0 w 2253933"/>
              <a:gd name="connsiteY1" fmla="*/ 867082 h 873139"/>
              <a:gd name="connsiteX2" fmla="*/ 0 w 2253933"/>
              <a:gd name="connsiteY2" fmla="*/ 392918 h 873139"/>
              <a:gd name="connsiteX3" fmla="*/ 392918 w 2253933"/>
              <a:gd name="connsiteY3" fmla="*/ 0 h 873139"/>
              <a:gd name="connsiteX4" fmla="*/ 2239865 w 2253933"/>
              <a:gd name="connsiteY4" fmla="*/ 0 h 873139"/>
              <a:gd name="connsiteX0" fmla="*/ 2253933 w 2253933"/>
              <a:gd name="connsiteY0" fmla="*/ 873139 h 909285"/>
              <a:gd name="connsiteX1" fmla="*/ 0 w 2253933"/>
              <a:gd name="connsiteY1" fmla="*/ 909285 h 909285"/>
              <a:gd name="connsiteX2" fmla="*/ 0 w 2253933"/>
              <a:gd name="connsiteY2" fmla="*/ 392918 h 909285"/>
              <a:gd name="connsiteX3" fmla="*/ 392918 w 2253933"/>
              <a:gd name="connsiteY3" fmla="*/ 0 h 909285"/>
              <a:gd name="connsiteX4" fmla="*/ 2239865 w 2253933"/>
              <a:gd name="connsiteY4" fmla="*/ 0 h 909285"/>
              <a:gd name="connsiteX0" fmla="*/ 2113256 w 2239865"/>
              <a:gd name="connsiteY0" fmla="*/ 922376 h 922376"/>
              <a:gd name="connsiteX1" fmla="*/ 0 w 2239865"/>
              <a:gd name="connsiteY1" fmla="*/ 909285 h 922376"/>
              <a:gd name="connsiteX2" fmla="*/ 0 w 2239865"/>
              <a:gd name="connsiteY2" fmla="*/ 392918 h 922376"/>
              <a:gd name="connsiteX3" fmla="*/ 392918 w 2239865"/>
              <a:gd name="connsiteY3" fmla="*/ 0 h 922376"/>
              <a:gd name="connsiteX4" fmla="*/ 2239865 w 2239865"/>
              <a:gd name="connsiteY4" fmla="*/ 0 h 922376"/>
              <a:gd name="connsiteX0" fmla="*/ 2113256 w 2113256"/>
              <a:gd name="connsiteY0" fmla="*/ 922376 h 922376"/>
              <a:gd name="connsiteX1" fmla="*/ 0 w 2113256"/>
              <a:gd name="connsiteY1" fmla="*/ 909285 h 922376"/>
              <a:gd name="connsiteX2" fmla="*/ 0 w 2113256"/>
              <a:gd name="connsiteY2" fmla="*/ 392918 h 922376"/>
              <a:gd name="connsiteX3" fmla="*/ 392918 w 2113256"/>
              <a:gd name="connsiteY3" fmla="*/ 0 h 922376"/>
              <a:gd name="connsiteX4" fmla="*/ 2099188 w 2113256"/>
              <a:gd name="connsiteY4" fmla="*/ 0 h 922376"/>
              <a:gd name="connsiteX0" fmla="*/ 2113256 w 2148425"/>
              <a:gd name="connsiteY0" fmla="*/ 922376 h 922376"/>
              <a:gd name="connsiteX1" fmla="*/ 0 w 2148425"/>
              <a:gd name="connsiteY1" fmla="*/ 909285 h 922376"/>
              <a:gd name="connsiteX2" fmla="*/ 0 w 2148425"/>
              <a:gd name="connsiteY2" fmla="*/ 392918 h 922376"/>
              <a:gd name="connsiteX3" fmla="*/ 392918 w 2148425"/>
              <a:gd name="connsiteY3" fmla="*/ 0 h 922376"/>
              <a:gd name="connsiteX4" fmla="*/ 2148425 w 2148425"/>
              <a:gd name="connsiteY4" fmla="*/ 0 h 922376"/>
              <a:gd name="connsiteX0" fmla="*/ 2113256 w 2113256"/>
              <a:gd name="connsiteY0" fmla="*/ 936444 h 936444"/>
              <a:gd name="connsiteX1" fmla="*/ 0 w 2113256"/>
              <a:gd name="connsiteY1" fmla="*/ 923353 h 936444"/>
              <a:gd name="connsiteX2" fmla="*/ 0 w 2113256"/>
              <a:gd name="connsiteY2" fmla="*/ 406986 h 936444"/>
              <a:gd name="connsiteX3" fmla="*/ 392918 w 2113256"/>
              <a:gd name="connsiteY3" fmla="*/ 14068 h 936444"/>
              <a:gd name="connsiteX4" fmla="*/ 2085120 w 2113256"/>
              <a:gd name="connsiteY4" fmla="*/ 0 h 936444"/>
              <a:gd name="connsiteX0" fmla="*/ 2113256 w 2127323"/>
              <a:gd name="connsiteY0" fmla="*/ 936444 h 936444"/>
              <a:gd name="connsiteX1" fmla="*/ 0 w 2127323"/>
              <a:gd name="connsiteY1" fmla="*/ 923353 h 936444"/>
              <a:gd name="connsiteX2" fmla="*/ 0 w 2127323"/>
              <a:gd name="connsiteY2" fmla="*/ 406986 h 936444"/>
              <a:gd name="connsiteX3" fmla="*/ 392918 w 2127323"/>
              <a:gd name="connsiteY3" fmla="*/ 14068 h 936444"/>
              <a:gd name="connsiteX4" fmla="*/ 2127323 w 2127323"/>
              <a:gd name="connsiteY4" fmla="*/ 0 h 936444"/>
              <a:gd name="connsiteX0" fmla="*/ 2134357 w 2134357"/>
              <a:gd name="connsiteY0" fmla="*/ 915343 h 923353"/>
              <a:gd name="connsiteX1" fmla="*/ 0 w 2134357"/>
              <a:gd name="connsiteY1" fmla="*/ 923353 h 923353"/>
              <a:gd name="connsiteX2" fmla="*/ 0 w 2134357"/>
              <a:gd name="connsiteY2" fmla="*/ 406986 h 923353"/>
              <a:gd name="connsiteX3" fmla="*/ 392918 w 2134357"/>
              <a:gd name="connsiteY3" fmla="*/ 14068 h 923353"/>
              <a:gd name="connsiteX4" fmla="*/ 2127323 w 2134357"/>
              <a:gd name="connsiteY4" fmla="*/ 0 h 923353"/>
              <a:gd name="connsiteX0" fmla="*/ 2134357 w 2134357"/>
              <a:gd name="connsiteY0" fmla="*/ 901275 h 909285"/>
              <a:gd name="connsiteX1" fmla="*/ 0 w 2134357"/>
              <a:gd name="connsiteY1" fmla="*/ 909285 h 909285"/>
              <a:gd name="connsiteX2" fmla="*/ 0 w 2134357"/>
              <a:gd name="connsiteY2" fmla="*/ 392918 h 909285"/>
              <a:gd name="connsiteX3" fmla="*/ 392918 w 2134357"/>
              <a:gd name="connsiteY3" fmla="*/ 0 h 909285"/>
              <a:gd name="connsiteX4" fmla="*/ 2132119 w 2134357"/>
              <a:gd name="connsiteY4" fmla="*/ 219 h 909285"/>
              <a:gd name="connsiteX0" fmla="*/ 2134357 w 2134357"/>
              <a:gd name="connsiteY0" fmla="*/ 910800 h 910800"/>
              <a:gd name="connsiteX1" fmla="*/ 0 w 2134357"/>
              <a:gd name="connsiteY1" fmla="*/ 909285 h 910800"/>
              <a:gd name="connsiteX2" fmla="*/ 0 w 2134357"/>
              <a:gd name="connsiteY2" fmla="*/ 392918 h 910800"/>
              <a:gd name="connsiteX3" fmla="*/ 392918 w 2134357"/>
              <a:gd name="connsiteY3" fmla="*/ 0 h 910800"/>
              <a:gd name="connsiteX4" fmla="*/ 2132119 w 2134357"/>
              <a:gd name="connsiteY4" fmla="*/ 219 h 91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34357" h="910800">
                <a:moveTo>
                  <a:pt x="2134357" y="910800"/>
                </a:moveTo>
                <a:lnTo>
                  <a:pt x="0" y="909285"/>
                </a:lnTo>
                <a:lnTo>
                  <a:pt x="0" y="392918"/>
                </a:lnTo>
                <a:cubicBezTo>
                  <a:pt x="0" y="175915"/>
                  <a:pt x="175915" y="0"/>
                  <a:pt x="392918" y="0"/>
                </a:cubicBezTo>
                <a:lnTo>
                  <a:pt x="2132119" y="219"/>
                </a:lnTo>
              </a:path>
            </a:pathLst>
          </a:custGeom>
          <a:solidFill>
            <a:schemeClr val="bg1"/>
          </a:solidFill>
          <a:ln w="1270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500" b="0" i="0" u="none" strike="noStrike" cap="none" normalizeH="0" baseline="0">
              <a:ln>
                <a:noFill/>
              </a:ln>
              <a:solidFill>
                <a:srgbClr val="0028AD"/>
              </a:solidFill>
              <a:effectLst/>
              <a:latin typeface="Arial" charset="0"/>
            </a:endParaRPr>
          </a:p>
        </p:txBody>
      </p:sp>
      <p:pic>
        <p:nvPicPr>
          <p:cNvPr id="4154" name="Picture 58" descr="Logo-RGB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1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0B43EBC-5C81-9048-99D8-98BF6E9AAFB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Subtitle</a:t>
            </a:r>
            <a:endParaRPr lang="en-GB" noProof="0"/>
          </a:p>
        </p:txBody>
      </p:sp>
      <p:pic>
        <p:nvPicPr>
          <p:cNvPr id="4158" name="Picture 62" descr="Kästchen-blau-breit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>
    <p:dissolv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D6DFE7FB-BD09-AA46-851D-B1DBEFD8BECC}"/>
              </a:ext>
            </a:extLst>
          </p:cNvPr>
          <p:cNvSpPr/>
          <p:nvPr userDrawn="1">
            <p:custDataLst>
              <p:tags r:id="rId11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1270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pic>
        <p:nvPicPr>
          <p:cNvPr id="1178" name="Picture 154" descr="Kästchen-blau-breit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173" name="Text Box 149"/>
          <p:cNvSpPr txBox="1">
            <a:spLocks noChangeArrowheads="1"/>
          </p:cNvSpPr>
          <p:nvPr/>
        </p:nvSpPr>
        <p:spPr bwMode="auto">
          <a:xfrm>
            <a:off x="582612" y="6134400"/>
            <a:ext cx="6442075" cy="407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algn="l">
              <a:spcBef>
                <a:spcPct val="50000"/>
              </a:spcBef>
            </a:pPr>
            <a:r>
              <a:rPr lang="de-DE" sz="800" dirty="0">
                <a:solidFill>
                  <a:schemeClr val="tx1"/>
                </a:solidFill>
              </a:rPr>
              <a:t>Prof. Dr. Gawron</a:t>
            </a:r>
            <a:br>
              <a:rPr lang="de-DE" sz="800" dirty="0">
                <a:solidFill>
                  <a:schemeClr val="tx1"/>
                </a:solidFill>
              </a:rPr>
            </a:br>
            <a:r>
              <a:rPr lang="de-DE" sz="800" dirty="0">
                <a:solidFill>
                  <a:schemeClr val="tx1"/>
                </a:solidFill>
              </a:rPr>
              <a:t>Slide </a:t>
            </a:r>
            <a:fld id="{44BA279E-E9BC-D743-974C-EFE8A41952FB}" type="slidenum">
              <a:rPr lang="de-DE" sz="800">
                <a:solidFill>
                  <a:schemeClr val="tx1"/>
                </a:solidFill>
              </a:rPr>
              <a:pPr algn="l">
                <a:spcBef>
                  <a:spcPct val="50000"/>
                </a:spcBef>
              </a:pPr>
              <a:t>‹Nr.›</a:t>
            </a:fld>
            <a:r>
              <a:rPr lang="de-DE" sz="800" dirty="0">
                <a:solidFill>
                  <a:schemeClr val="tx1"/>
                </a:solidFill>
              </a:rPr>
              <a:t> (SS 2023)</a:t>
            </a:r>
          </a:p>
        </p:txBody>
      </p:sp>
      <p:pic>
        <p:nvPicPr>
          <p:cNvPr id="1176" name="Picture 152" descr="Kästchen-weiss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407" b="68468"/>
          <a:stretch>
            <a:fillRect/>
          </a:stretch>
        </p:blipFill>
        <p:spPr bwMode="auto">
          <a:xfrm>
            <a:off x="7024688" y="5949950"/>
            <a:ext cx="2119312" cy="908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177" name="Picture 153" descr="Logo-RGB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4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MSIPCMContentMarking" descr="{&quot;HashCode&quot;:-1699574231,&quot;Placement&quot;:&quot;Footer&quot;,&quot;Top&quot;:523.380066,&quot;Left&quot;:0.0,&quot;SlideWidth&quot;:720,&quot;SlideHeight&quot;:540}">
            <a:extLst>
              <a:ext uri="{FF2B5EF4-FFF2-40B4-BE49-F238E27FC236}">
                <a16:creationId xmlns:a16="http://schemas.microsoft.com/office/drawing/2014/main" id="{8AF2A6CD-C9E7-BF23-BD73-BEC0CE1C916E}"/>
              </a:ext>
            </a:extLst>
          </p:cNvPr>
          <p:cNvSpPr txBox="1"/>
          <p:nvPr userDrawn="1"/>
        </p:nvSpPr>
        <p:spPr>
          <a:xfrm>
            <a:off x="0" y="6646927"/>
            <a:ext cx="619703" cy="21107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de-DE" sz="700">
                <a:solidFill>
                  <a:srgbClr val="000000"/>
                </a:solidFill>
                <a:latin typeface="Calibri" panose="020F0502020204030204" pitchFamily="34" charset="0"/>
              </a:rPr>
              <a:t>C2 Genera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4" r:id="rId3"/>
    <p:sldLayoutId id="2147483655" r:id="rId4"/>
    <p:sldLayoutId id="2147483656" r:id="rId5"/>
    <p:sldLayoutId id="2147483657" r:id="rId6"/>
    <p:sldLayoutId id="2147483652" r:id="rId7"/>
    <p:sldLayoutId id="2147483653" r:id="rId8"/>
    <p:sldLayoutId id="2147483649" r:id="rId9"/>
  </p:sldLayoutIdLst>
  <p:transition>
    <p:dissolve/>
  </p:transition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9pPr>
    </p:titleStyle>
    <p:bodyStyle>
      <a:lvl1pPr marL="188913" indent="-188913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665163" indent="-28575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2pPr>
      <a:lvl3pPr marL="1084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3pPr>
      <a:lvl4pPr marL="15033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4pPr>
      <a:lvl5pPr marL="19224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5pPr>
      <a:lvl6pPr marL="23796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6pPr>
      <a:lvl7pPr marL="28368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7pPr>
      <a:lvl8pPr marL="32940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8pPr>
      <a:lvl9pPr marL="3751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0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0.pn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0.png"/><Relationship Id="rId2" Type="http://schemas.openxmlformats.org/officeDocument/2006/relationships/hyperlink" Target="https://d1wqtxts1xzle7.cloudfront.net/48117997/bf0229599620160817-8553-1ubbzhr-libre.pdf?1471439562=&amp;response-content-disposition=inline;+filename=Note_on_the_sampling_error_of_the_differ.pdf&amp;Expires=1690101344&amp;Signature=GRyjRibAHJe1iFy0bA9gO9-YlB-mspyKmKTIyakjONkQKgK8TOQURKDsz8zsrP0554zbtk-nb84ncVeH0dc4smYdhlR6uuWfpzyM241JXupmhUx9-e5lm2E7JlmN63N0HK1XovQBnRMwI0XIacziwzbFuE8gsUGao6hWLV54nHcTxvcMpMyGP0NTFtiiKlMT8biNf9rT72AIIUoSm~ef3CKzM-0ZR7Nc~sko-8aNRNtVaPo2D~E8yIdtoxo-r7Lde~WCYmFMT6c--9CNd9i8JS73MmUl3zjahuT~UqvWMA8GaFDQAJVf6sPaRP074eNR-5OVKTswwskx7GdOcUnFsw__&amp;Key-Pair-Id=APKAJLOHF5GGSLRBV4ZA" TargetMode="Externa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diagramLayout" Target="../diagrams/layout3.xml"/><Relationship Id="rId7" Type="http://schemas.openxmlformats.org/officeDocument/2006/relationships/hyperlink" Target="https://www.transfermarkt.de/bundesliga/spieltag/wettbewerb/L1/spieltag/34/saison_id/2022" TargetMode="Externa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7" Type="http://schemas.openxmlformats.org/officeDocument/2006/relationships/image" Target="../media/image10.png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7" Type="http://schemas.openxmlformats.org/officeDocument/2006/relationships/image" Target="../media/image11.png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diagramLayout" Target="../diagrams/layout6.xml"/><Relationship Id="rId7" Type="http://schemas.openxmlformats.org/officeDocument/2006/relationships/hyperlink" Target="https://www.wetterkontor.de/de/wetter/deutschland/extremwerte.asp?id=20110101" TargetMode="Externa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Vorhersage von Spielergebnissen der ersten Bundesliga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9C1DBF-08C5-3891-7F27-61372FB3B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Web Mining	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A47FF883-BE3B-947C-F620-3B1ABD3BC42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93EDF79-875E-82CF-D05E-06E2B216A2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Datenanalyse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4795EBAF-B4CA-71BE-3F87-029800A66D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44307" y="1448672"/>
            <a:ext cx="7322061" cy="4338321"/>
          </a:xfrm>
          <a:prstGeom prst="rect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val="3714465152"/>
      </p:ext>
    </p:extLst>
  </p:cSld>
  <p:clrMapOvr>
    <a:masterClrMapping/>
  </p:clrMapOvr>
  <p:transition>
    <p:dissolv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9C1DBF-08C5-3891-7F27-61372FB3B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Web Mining	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AB422A3-1BF5-B6A5-4FDA-9BAFA8113A0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93EDF79-875E-82CF-D05E-06E2B216A2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Datenanalyse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A492AABD-4421-66CE-C134-9215AC189D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44307" y="1448672"/>
            <a:ext cx="7322061" cy="4338321"/>
          </a:xfrm>
          <a:prstGeom prst="rect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val="3892605043"/>
      </p:ext>
    </p:extLst>
  </p:cSld>
  <p:clrMapOvr>
    <a:masterClrMapping/>
  </p:clrMapOvr>
  <p:transition>
    <p:dissolv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9C1DBF-08C5-3891-7F27-61372FB3B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Web Mining	</a:t>
            </a:r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D51A6D85-3D71-3806-3060-B018A7DF89BD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75848" y="1623755"/>
            <a:ext cx="5458979" cy="4178816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93EDF79-875E-82CF-D05E-06E2B216A2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Datenanalyse</a:t>
            </a:r>
          </a:p>
        </p:txBody>
      </p:sp>
    </p:spTree>
    <p:extLst>
      <p:ext uri="{BB962C8B-B14F-4D97-AF65-F5344CB8AC3E}">
        <p14:creationId xmlns:p14="http://schemas.microsoft.com/office/powerpoint/2010/main" val="3183754029"/>
      </p:ext>
    </p:extLst>
  </p:cSld>
  <p:clrMapOvr>
    <a:masterClrMapping/>
  </p:clrMapOvr>
  <p:transition>
    <p:dissolv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9C1DBF-08C5-3891-7F27-61372FB3B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Web Mining	</a:t>
            </a:r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D51A6D85-3D71-3806-3060-B018A7DF89BD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75848" y="1623755"/>
            <a:ext cx="5458979" cy="4178816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93EDF79-875E-82CF-D05E-06E2B216A2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Datenanalyse</a:t>
            </a:r>
          </a:p>
        </p:txBody>
      </p:sp>
    </p:spTree>
    <p:extLst>
      <p:ext uri="{BB962C8B-B14F-4D97-AF65-F5344CB8AC3E}">
        <p14:creationId xmlns:p14="http://schemas.microsoft.com/office/powerpoint/2010/main" val="3518569522"/>
      </p:ext>
    </p:extLst>
  </p:cSld>
  <p:clrMapOvr>
    <a:masterClrMapping/>
  </p:clrMapOvr>
  <p:transition>
    <p:dissolv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9C1DBF-08C5-3891-7F27-61372FB3B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Web Mining	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A53E07B-9265-78F5-9EAE-AC2FEC43E4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93EDF79-875E-82CF-D05E-06E2B216A2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Datenanalyse</a:t>
            </a:r>
          </a:p>
        </p:txBody>
      </p:sp>
      <p:pic>
        <p:nvPicPr>
          <p:cNvPr id="5122" name="Picture 2">
            <a:extLst>
              <a:ext uri="{FF2B5EF4-FFF2-40B4-BE49-F238E27FC236}">
                <a16:creationId xmlns:a16="http://schemas.microsoft.com/office/drawing/2014/main" id="{D0CDF782-890E-9447-12F5-53DE59E603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15421" y="1448672"/>
            <a:ext cx="5579832" cy="4338321"/>
          </a:xfrm>
          <a:prstGeom prst="rect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val="1049637152"/>
      </p:ext>
    </p:extLst>
  </p:cSld>
  <p:clrMapOvr>
    <a:masterClrMapping/>
  </p:clrMapOvr>
  <p:transition>
    <p:dissolv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9C1DBF-08C5-3891-7F27-61372FB3B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Web Mining	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2FF0AED-C5E0-C1F3-CB3A-BEFD0E44896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93EDF79-875E-82CF-D05E-06E2B216A2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Datenanalyse</a:t>
            </a:r>
          </a:p>
        </p:txBody>
      </p:sp>
      <p:pic>
        <p:nvPicPr>
          <p:cNvPr id="6146" name="Picture 2">
            <a:extLst>
              <a:ext uri="{FF2B5EF4-FFF2-40B4-BE49-F238E27FC236}">
                <a16:creationId xmlns:a16="http://schemas.microsoft.com/office/drawing/2014/main" id="{40726E26-DDA9-3133-E8BB-13DAA836EC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59689" y="1448672"/>
            <a:ext cx="7291296" cy="4338321"/>
          </a:xfrm>
          <a:prstGeom prst="rect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val="820473851"/>
      </p:ext>
    </p:extLst>
  </p:cSld>
  <p:clrMapOvr>
    <a:masterClrMapping/>
  </p:clrMapOvr>
  <p:transition>
    <p:dissolv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9C1DBF-08C5-3891-7F27-61372FB3B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Web Mining	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93EDF79-875E-82CF-D05E-06E2B216A2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Datenanalyse</a:t>
            </a:r>
          </a:p>
        </p:txBody>
      </p:sp>
      <p:pic>
        <p:nvPicPr>
          <p:cNvPr id="7170" name="Picture 2">
            <a:extLst>
              <a:ext uri="{FF2B5EF4-FFF2-40B4-BE49-F238E27FC236}">
                <a16:creationId xmlns:a16="http://schemas.microsoft.com/office/drawing/2014/main" id="{FF473940-278E-2B1A-AE54-97203F3B5AA1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032" y="1449388"/>
            <a:ext cx="7628611" cy="4527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52312445"/>
      </p:ext>
    </p:extLst>
  </p:cSld>
  <p:clrMapOvr>
    <a:masterClrMapping/>
  </p:clrMapOvr>
  <p:transition>
    <p:dissolv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nchmark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Inhaltsplatzhalter 2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de-DE" dirty="0"/>
                  <a:t>Elo-Zahl misst die Mannschaftsstärke basierend auf vergangenen Ergebnissen</a:t>
                </a:r>
              </a:p>
              <a:p>
                <a:r>
                  <a:rPr lang="de-DE" dirty="0"/>
                  <a:t>Basierend der </a:t>
                </a:r>
                <a:r>
                  <a:rPr lang="de-DE" dirty="0" err="1"/>
                  <a:t>Elo</a:t>
                </a:r>
                <a:r>
                  <a:rPr lang="de-DE" dirty="0"/>
                  <a:t>-Zahl von 2 Mannschaften kann ein Erwartungswert für ein bevorstehendes Spiel berechnet werden</a:t>
                </a:r>
              </a:p>
              <a:p>
                <a:r>
                  <a:rPr lang="de-DE" dirty="0"/>
                  <a:t>Alle historischen </a:t>
                </a:r>
                <a:r>
                  <a:rPr lang="de-DE" dirty="0" err="1"/>
                  <a:t>Elo</a:t>
                </a:r>
                <a:r>
                  <a:rPr lang="de-DE" dirty="0"/>
                  <a:t>-Werte der Mannschaften liegen vor</a:t>
                </a:r>
              </a:p>
              <a:p>
                <a:endParaRPr lang="de-DE" dirty="0"/>
              </a:p>
              <a:p>
                <a:r>
                  <a:rPr lang="de-DE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𝑊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𝑒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de-DE" dirty="0"/>
                  <a:t>= Erwartungswert 	</a:t>
                </a:r>
                <a:endParaRPr lang="de-DE" b="0" i="1" dirty="0">
                  <a:latin typeface="Cambria Math" panose="02040503050406030204" pitchFamily="18" charset="0"/>
                </a:endParaRPr>
              </a:p>
              <a:p>
                <a:pPr marL="2151063" lvl="5" indent="0">
                  <a:buNone/>
                </a:pPr>
                <a:r>
                  <a:rPr lang="de-DE" b="0" dirty="0"/>
                  <a:t>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𝑊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𝑒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sSup>
                          <m:sSup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10</m:t>
                            </m:r>
                          </m:e>
                          <m:sup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𝑑𝑟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/400</m:t>
                            </m:r>
                          </m:sup>
                        </m:s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+1</m:t>
                        </m:r>
                      </m:den>
                    </m:f>
                  </m:oMath>
                </a14:m>
                <a:endParaRPr lang="de-DE" dirty="0"/>
              </a:p>
              <a:p>
                <a:pPr marL="2151063" lvl="5" indent="0">
                  <a:buNone/>
                </a:pPr>
                <a:endParaRPr lang="de-DE" dirty="0"/>
              </a:p>
              <a:p>
                <a:r>
                  <a:rPr lang="de-DE" dirty="0"/>
                  <a:t>0 → sicher erwartete Niederlage, 1  sicher erwarteten Sieg</a:t>
                </a:r>
              </a:p>
              <a:p>
                <a:r>
                  <a:rPr lang="de-DE" dirty="0" err="1"/>
                  <a:t>dr</a:t>
                </a:r>
                <a:r>
                  <a:rPr lang="de-DE" dirty="0"/>
                  <a:t> = Der Punkteabstand (positiv oder negativ) in der Wertung des gegnerischen Teams gegenüber dem zu bewertenden Team. Die Mannschaft mit Heimvorteil wird mit 100 Punkten besser bewertet.</a:t>
                </a:r>
              </a:p>
            </p:txBody>
          </p:sp>
        </mc:Choice>
        <mc:Fallback xmlns="">
          <p:sp>
            <p:nvSpPr>
              <p:cNvPr id="3" name="Inhaltsplatzhalt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 l="-302" t="-404"/>
                </a:stretch>
              </a:blipFill>
            </p:spPr>
            <p:txBody>
              <a:bodyPr/>
              <a:lstStyle/>
              <a:p>
                <a:r>
                  <a:rPr lang="de-DE" dirty="0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Elo</a:t>
            </a:r>
            <a:r>
              <a:rPr lang="de-DE" dirty="0"/>
              <a:t> Rating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028F07C-0650-075C-382A-A1EEE94561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ellsignifikanz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3F0341A5-A330-0F87-293B-DE10A62776EE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de-DE" dirty="0"/>
                  <a:t>Ist das Ergebnis aus unserem Modell signifikant besser als zufälliges Raten für die Vorhersage von Spielergebnissen (Heimsieg, Heimniederlage, Unentschieden)</a:t>
                </a:r>
              </a:p>
              <a:p>
                <a:r>
                  <a:rPr lang="de-DE" dirty="0"/>
                  <a:t>Was bedeutet „raten“? Wie hoch ist die Apriori Wahrscheinlichkeit?</a:t>
                </a:r>
              </a:p>
              <a:p>
                <a:pPr lvl="1"/>
                <a:r>
                  <a:rPr lang="de-DE" dirty="0"/>
                  <a:t>Erste Annahme: Gleichverteilung bei reinem Zufalls: 1/3 für jeden Spielausgang</a:t>
                </a:r>
              </a:p>
              <a:p>
                <a:r>
                  <a:rPr lang="de-DE" dirty="0"/>
                  <a:t>Mit Hilfe statistischer Tests messen wir, ob unsere Prognoseergebnisse signifikant vom Zufälligen Raten abweicht</a:t>
                </a:r>
              </a:p>
              <a:p>
                <a:r>
                  <a:rPr lang="de-DE" b="1" dirty="0" err="1"/>
                  <a:t>McNemar</a:t>
                </a:r>
                <a:r>
                  <a:rPr lang="de-DE" b="1" dirty="0"/>
                  <a:t> Test:</a:t>
                </a:r>
              </a:p>
              <a:p>
                <a:pPr lvl="1"/>
                <a:r>
                  <a:rPr lang="de-DE" dirty="0"/>
                  <a:t>Verfahren um Unterschiede zwischen zwei verbundenen Stichproben zu untersuchen. Test ist für binären Output geeignet (richtige Vorhersage vs. falsche Vorhersage)</a:t>
                </a:r>
              </a:p>
              <a:p>
                <a:pPr lvl="2"/>
                <a:r>
                  <a:rPr lang="de-DE" dirty="0"/>
                  <a:t>Für unabhängige Stichproben: </a:t>
                </a:r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  <m:sSup>
                      <m:sSup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</m:oMath>
                </a14:m>
                <a:r>
                  <a:rPr lang="de-DE" dirty="0"/>
                  <a:t>-Test</a:t>
                </a:r>
              </a:p>
              <a:p>
                <a:pPr lvl="1"/>
                <a:r>
                  <a:rPr lang="de-DE" dirty="0"/>
                  <a:t>Nullhypothese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𝐻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</m:oMath>
                </a14:m>
                <a:r>
                  <a:rPr lang="de-DE" dirty="0"/>
                  <a:t>: Kein Unterschied zwischen Stichprobe1 und Stichprobe2</a:t>
                </a:r>
              </a:p>
              <a:p>
                <a:pPr lvl="1"/>
                <a:r>
                  <a:rPr lang="de-DE" dirty="0"/>
                  <a:t>Signifikanzniveau: </a:t>
                </a:r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𝛼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=0.05</m:t>
                    </m:r>
                  </m:oMath>
                </a14:m>
                <a:endParaRPr lang="de-DE" dirty="0"/>
              </a:p>
              <a:p>
                <a:pPr lvl="1"/>
                <a:endParaRPr lang="de-DE" dirty="0"/>
              </a:p>
            </p:txBody>
          </p:sp>
        </mc:Choice>
        <mc:Fallback xmlns="">
          <p:sp>
            <p:nvSpPr>
              <p:cNvPr id="3" name="Inhaltsplatzhalter 2">
                <a:extLst>
                  <a:ext uri="{FF2B5EF4-FFF2-40B4-BE49-F238E27FC236}">
                    <a16:creationId xmlns:a14="http://schemas.microsoft.com/office/drawing/2010/main" xmlns="" xmlns:a16="http://schemas.microsoft.com/office/drawing/2014/main" id="{3F0341A5-A330-0F87-293B-DE10A62776EE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 l="-302" t="-42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BD51801-2E25-7842-3879-3F3D1DB0AA7D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D8EF560-B43C-E3DA-96BF-89ECADFCACA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30394750"/>
      </p:ext>
    </p:extLst>
  </p:cSld>
  <p:clrMapOvr>
    <a:masterClrMapping/>
  </p:clrMapOvr>
  <p:transition>
    <p:dissolv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B5EF52-47A0-B3B0-3A5A-C338EE278B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ellsignifikanz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07D9122-B115-5742-5344-96AFEEBEC1D2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>
                <a:hlinkClick r:id="rId2"/>
              </a:rPr>
              <a:t>bf0229599620160817-8553-1ubbzhr-libre.pdf (d1wqtxts1xzle7.cloudfront.net)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7921FBD-3BF8-F651-B28C-4A32C44D14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Praxisumsetzung Beispiel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2D731793-C634-1050-2DD9-718A71AB7F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089" y="1448673"/>
            <a:ext cx="7991792" cy="806848"/>
          </a:xfrm>
        </p:spPr>
        <p:txBody>
          <a:bodyPr/>
          <a:lstStyle/>
          <a:p>
            <a:pPr marL="0" indent="0">
              <a:buNone/>
            </a:pPr>
            <a:endParaRPr lang="de-DE" dirty="0"/>
          </a:p>
          <a:p>
            <a:pPr lvl="1"/>
            <a:endParaRPr lang="de-DE" dirty="0"/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37988F51-3C90-D9CD-8852-EC0E49EB50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1674415"/>
              </p:ext>
            </p:extLst>
          </p:nvPr>
        </p:nvGraphicFramePr>
        <p:xfrm>
          <a:off x="1212374" y="3640161"/>
          <a:ext cx="3149600" cy="737500"/>
        </p:xfrm>
        <a:graphic>
          <a:graphicData uri="http://schemas.openxmlformats.org/drawingml/2006/table">
            <a:tbl>
              <a:tblPr/>
              <a:tblGrid>
                <a:gridCol w="873324">
                  <a:extLst>
                    <a:ext uri="{9D8B030D-6E8A-4147-A177-3AD203B41FA5}">
                      <a16:colId xmlns:a16="http://schemas.microsoft.com/office/drawing/2014/main" val="831428165"/>
                    </a:ext>
                  </a:extLst>
                </a:gridCol>
                <a:gridCol w="873324">
                  <a:extLst>
                    <a:ext uri="{9D8B030D-6E8A-4147-A177-3AD203B41FA5}">
                      <a16:colId xmlns:a16="http://schemas.microsoft.com/office/drawing/2014/main" val="1022514035"/>
                    </a:ext>
                  </a:extLst>
                </a:gridCol>
                <a:gridCol w="701476">
                  <a:extLst>
                    <a:ext uri="{9D8B030D-6E8A-4147-A177-3AD203B41FA5}">
                      <a16:colId xmlns:a16="http://schemas.microsoft.com/office/drawing/2014/main" val="2323498985"/>
                    </a:ext>
                  </a:extLst>
                </a:gridCol>
                <a:gridCol w="701476">
                  <a:extLst>
                    <a:ext uri="{9D8B030D-6E8A-4147-A177-3AD203B41FA5}">
                      <a16:colId xmlns:a16="http://schemas.microsoft.com/office/drawing/2014/main" val="961538481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ufälliges Rat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569779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chti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lsch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84958998"/>
                  </a:ext>
                </a:extLst>
              </a:tr>
              <a:tr h="18288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nos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chti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1860362"/>
                  </a:ext>
                </a:extLst>
              </a:tr>
              <a:tr h="188860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lsch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4535751"/>
                  </a:ext>
                </a:extLst>
              </a:tr>
            </a:tbl>
          </a:graphicData>
        </a:graphic>
      </p:graphicFrame>
      <p:graphicFrame>
        <p:nvGraphicFramePr>
          <p:cNvPr id="11" name="Tabelle 10">
            <a:extLst>
              <a:ext uri="{FF2B5EF4-FFF2-40B4-BE49-F238E27FC236}">
                <a16:creationId xmlns:a16="http://schemas.microsoft.com/office/drawing/2014/main" id="{81B33DBF-4969-8B23-0C6A-D93434BC46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7677133"/>
              </p:ext>
            </p:extLst>
          </p:nvPr>
        </p:nvGraphicFramePr>
        <p:xfrm>
          <a:off x="4704673" y="3646141"/>
          <a:ext cx="3149600" cy="731520"/>
        </p:xfrm>
        <a:graphic>
          <a:graphicData uri="http://schemas.openxmlformats.org/drawingml/2006/table">
            <a:tbl>
              <a:tblPr/>
              <a:tblGrid>
                <a:gridCol w="873324">
                  <a:extLst>
                    <a:ext uri="{9D8B030D-6E8A-4147-A177-3AD203B41FA5}">
                      <a16:colId xmlns:a16="http://schemas.microsoft.com/office/drawing/2014/main" val="777577525"/>
                    </a:ext>
                  </a:extLst>
                </a:gridCol>
                <a:gridCol w="873324">
                  <a:extLst>
                    <a:ext uri="{9D8B030D-6E8A-4147-A177-3AD203B41FA5}">
                      <a16:colId xmlns:a16="http://schemas.microsoft.com/office/drawing/2014/main" val="3294933564"/>
                    </a:ext>
                  </a:extLst>
                </a:gridCol>
                <a:gridCol w="701476">
                  <a:extLst>
                    <a:ext uri="{9D8B030D-6E8A-4147-A177-3AD203B41FA5}">
                      <a16:colId xmlns:a16="http://schemas.microsoft.com/office/drawing/2014/main" val="1663674980"/>
                    </a:ext>
                  </a:extLst>
                </a:gridCol>
                <a:gridCol w="701476">
                  <a:extLst>
                    <a:ext uri="{9D8B030D-6E8A-4147-A177-3AD203B41FA5}">
                      <a16:colId xmlns:a16="http://schemas.microsoft.com/office/drawing/2014/main" val="2638895200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ufälliges Rat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424733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chti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lsch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0176256"/>
                  </a:ext>
                </a:extLst>
              </a:tr>
              <a:tr h="18288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nos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chti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1387206"/>
                  </a:ext>
                </a:extLst>
              </a:tr>
              <a:tr h="182880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lsch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898969"/>
                  </a:ext>
                </a:extLst>
              </a:tr>
            </a:tbl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12" name="Inhaltsplatzhalter 2">
                <a:extLst>
                  <a:ext uri="{FF2B5EF4-FFF2-40B4-BE49-F238E27FC236}">
                    <a16:creationId xmlns:a16="http://schemas.microsoft.com/office/drawing/2014/main" id="{3642F8AF-EFC8-342C-F01A-33D53B0CB1E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73088" y="4521461"/>
                <a:ext cx="8163834" cy="887866"/>
              </a:xfrm>
              <a:prstGeom prst="rect">
                <a:avLst/>
              </a:prstGeom>
            </p:spPr>
            <p:txBody>
              <a:bodyPr/>
              <a:lstStyle>
                <a:lvl1pPr marL="188913" indent="-188913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65163" indent="-28575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2pPr>
                <a:lvl3pPr marL="10842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3pPr>
                <a:lvl4pPr marL="15033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4pPr>
                <a:lvl5pPr marL="19224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5pPr>
                <a:lvl6pPr marL="23796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6pPr>
                <a:lvl7pPr marL="28368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7pPr>
                <a:lvl8pPr marL="32940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8pPr>
                <a:lvl9pPr marL="37512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9pPr>
              </a:lstStyle>
              <a:p>
                <a:pPr marL="0" indent="0">
                  <a:buNone/>
                </a:pPr>
                <a:r>
                  <a:rPr lang="de-DE" sz="1200" kern="0" dirty="0"/>
                  <a:t>Teststatistik: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de-DE" sz="1200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p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de-DE" sz="1200" i="1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de-DE" sz="12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p>
                          <m:sSupPr>
                            <m:ctrlPr>
                              <a:rPr lang="de-DE" sz="1200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d>
                              <m:dPr>
                                <m:ctrlPr>
                                  <a:rPr lang="de-DE" sz="120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de-DE" sz="1200" i="1">
                                    <a:latin typeface="Cambria Math" panose="02040503050406030204" pitchFamily="18" charset="0"/>
                                  </a:rPr>
                                  <m:t>𝑏</m:t>
                                </m:r>
                                <m:r>
                                  <a:rPr lang="de-DE" sz="1200" i="1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r>
                                  <a:rPr lang="de-DE" sz="1200" i="1">
                                    <a:latin typeface="Cambria Math" panose="02040503050406030204" pitchFamily="18" charset="0"/>
                                  </a:rPr>
                                  <m:t>𝑐</m:t>
                                </m:r>
                              </m:e>
                            </m:d>
                          </m:e>
                          <m:sup>
                            <m:r>
                              <a:rPr lang="de-DE" sz="1200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</m:num>
                      <m:den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𝑐</m:t>
                        </m:r>
                      </m:den>
                    </m:f>
                  </m:oMath>
                </a14:m>
                <a:endParaRPr lang="de-DE" sz="1200" dirty="0"/>
              </a:p>
              <a:p>
                <a:pPr marL="0" indent="0">
                  <a:buNone/>
                </a:pPr>
                <a:r>
                  <a:rPr lang="de-DE" sz="1200" dirty="0"/>
                  <a:t>Kritischer Wert der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de-DE" sz="12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p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</m:oMath>
                </a14:m>
                <a:r>
                  <a:rPr lang="de-DE" sz="1200" dirty="0"/>
                  <a:t>-Verteilung mit 1 Freiheitsgrad und 95%-Quantil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b="0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b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1;0,95</m:t>
                        </m:r>
                      </m:sub>
                      <m:sup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sz="1200" dirty="0"/>
                  <a:t> = 3.84</a:t>
                </a:r>
              </a:p>
              <a:p>
                <a:pPr marL="0" indent="0">
                  <a:buNone/>
                </a:pPr>
                <a:endParaRPr lang="de-DE" sz="1200" dirty="0"/>
              </a:p>
              <a:p>
                <a:pPr marL="0" indent="0">
                  <a:buNone/>
                </a:pPr>
                <a:r>
                  <a:rPr lang="de-DE" sz="1200" dirty="0"/>
                  <a:t>Nullhypothese ablehnen, falls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de-DE" sz="12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p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de-DE" sz="1200" b="0" i="1" smtClean="0">
                        <a:latin typeface="Cambria Math" panose="02040503050406030204" pitchFamily="18" charset="0"/>
                      </a:rPr>
                      <m:t>&gt;</m:t>
                    </m:r>
                    <m:sSubSup>
                      <m:sSubSupPr>
                        <m:ctrlPr>
                          <a:rPr lang="de-DE" sz="1200" b="0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b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1;0,95</m:t>
                        </m:r>
                      </m:sub>
                      <m:sup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bSup>
                  </m:oMath>
                </a14:m>
                <a:endParaRPr lang="de-DE" sz="1200" dirty="0"/>
              </a:p>
            </p:txBody>
          </p:sp>
        </mc:Choice>
        <mc:Fallback xmlns="">
          <p:sp>
            <p:nvSpPr>
              <p:cNvPr id="12" name="Inhaltsplatzhalter 2">
                <a:extLst>
                  <a:ext uri="{FF2B5EF4-FFF2-40B4-BE49-F238E27FC236}">
                    <a16:creationId xmlns:a14="http://schemas.microsoft.com/office/drawing/2010/main" xmlns="" xmlns:a16="http://schemas.microsoft.com/office/drawing/2014/main" id="{3642F8AF-EFC8-342C-F01A-33D53B0CB1E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3088" y="4521461"/>
                <a:ext cx="8163834" cy="887866"/>
              </a:xfrm>
              <a:prstGeom prst="rect">
                <a:avLst/>
              </a:prstGeom>
              <a:blipFill>
                <a:blip r:embed="rId3"/>
                <a:stretch>
                  <a:fillRect b="-3517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14" name="Tabelle 13">
            <a:extLst>
              <a:ext uri="{FF2B5EF4-FFF2-40B4-BE49-F238E27FC236}">
                <a16:creationId xmlns:a16="http://schemas.microsoft.com/office/drawing/2014/main" id="{D6770FB0-48C5-018E-22DC-4AA26DB2B3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1828962"/>
              </p:ext>
            </p:extLst>
          </p:nvPr>
        </p:nvGraphicFramePr>
        <p:xfrm>
          <a:off x="1224873" y="1197781"/>
          <a:ext cx="6629400" cy="2377440"/>
        </p:xfrm>
        <a:graphic>
          <a:graphicData uri="http://schemas.openxmlformats.org/drawingml/2006/table">
            <a:tbl>
              <a:tblPr/>
              <a:tblGrid>
                <a:gridCol w="433076">
                  <a:extLst>
                    <a:ext uri="{9D8B030D-6E8A-4147-A177-3AD203B41FA5}">
                      <a16:colId xmlns:a16="http://schemas.microsoft.com/office/drawing/2014/main" val="1645983625"/>
                    </a:ext>
                  </a:extLst>
                </a:gridCol>
                <a:gridCol w="1099348">
                  <a:extLst>
                    <a:ext uri="{9D8B030D-6E8A-4147-A177-3AD203B41FA5}">
                      <a16:colId xmlns:a16="http://schemas.microsoft.com/office/drawing/2014/main" val="527897535"/>
                    </a:ext>
                  </a:extLst>
                </a:gridCol>
                <a:gridCol w="1132661">
                  <a:extLst>
                    <a:ext uri="{9D8B030D-6E8A-4147-A177-3AD203B41FA5}">
                      <a16:colId xmlns:a16="http://schemas.microsoft.com/office/drawing/2014/main" val="1722899767"/>
                    </a:ext>
                  </a:extLst>
                </a:gridCol>
                <a:gridCol w="1232602">
                  <a:extLst>
                    <a:ext uri="{9D8B030D-6E8A-4147-A177-3AD203B41FA5}">
                      <a16:colId xmlns:a16="http://schemas.microsoft.com/office/drawing/2014/main" val="3566156408"/>
                    </a:ext>
                  </a:extLst>
                </a:gridCol>
                <a:gridCol w="1232602">
                  <a:extLst>
                    <a:ext uri="{9D8B030D-6E8A-4147-A177-3AD203B41FA5}">
                      <a16:colId xmlns:a16="http://schemas.microsoft.com/office/drawing/2014/main" val="1866810721"/>
                    </a:ext>
                  </a:extLst>
                </a:gridCol>
                <a:gridCol w="1232602">
                  <a:extLst>
                    <a:ext uri="{9D8B030D-6E8A-4147-A177-3AD203B41FA5}">
                      <a16:colId xmlns:a16="http://schemas.microsoft.com/office/drawing/2014/main" val="1768792432"/>
                    </a:ext>
                  </a:extLst>
                </a:gridCol>
                <a:gridCol w="266509">
                  <a:extLst>
                    <a:ext uri="{9D8B030D-6E8A-4147-A177-3AD203B41FA5}">
                      <a16:colId xmlns:a16="http://schemas.microsoft.com/office/drawing/2014/main" val="1714470662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iel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team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swärtsteam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rgebnis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nos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ufälliges Rat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378447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32963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226331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864735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325983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23508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576212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968535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315948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329998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902441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831456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94758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69629437"/>
      </p:ext>
    </p:extLst>
  </p:cSld>
  <p:clrMapOvr>
    <a:masterClrMapping/>
  </p:clrMapOvr>
  <p:transition>
    <p:dissolv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074053-56C1-1343-4DBA-ADE4C8E128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5" name="Inhaltsplatzhalter 4">
            <a:extLst>
              <a:ext uri="{FF2B5EF4-FFF2-40B4-BE49-F238E27FC236}">
                <a16:creationId xmlns:a16="http://schemas.microsoft.com/office/drawing/2014/main" id="{A1A3C1F0-2E62-1727-56CF-98E451E47C91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573088" y="1448672"/>
          <a:ext cx="8063999" cy="45283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3EFE8DC-16BD-0256-C87F-2509C57363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242142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B5EF52-47A0-B3B0-3A5A-C338EE278B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ellsignifikanz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7921FBD-3BF8-F651-B28C-4A32C44D14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Praxisumsetzung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2D731793-C634-1050-2DD9-718A71AB7F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089" y="1448673"/>
            <a:ext cx="7991792" cy="806848"/>
          </a:xfrm>
        </p:spPr>
        <p:txBody>
          <a:bodyPr/>
          <a:lstStyle/>
          <a:p>
            <a:pPr marL="0" indent="0">
              <a:buNone/>
            </a:pPr>
            <a:endParaRPr lang="de-DE" dirty="0"/>
          </a:p>
          <a:p>
            <a:pPr lvl="1"/>
            <a:endParaRPr lang="de-DE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2A5C051E-5423-1972-B635-54A092E88B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0883" y="1286419"/>
            <a:ext cx="3809860" cy="1938204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A9A3D5F6-EC1E-C7DC-000E-2AAC58C57C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0883" y="3633378"/>
            <a:ext cx="3921827" cy="1915311"/>
          </a:xfrm>
          <a:prstGeom prst="rect">
            <a:avLst/>
          </a:prstGeom>
        </p:spPr>
      </p:pic>
      <p:sp>
        <p:nvSpPr>
          <p:cNvPr id="20" name="Inhaltsplatzhalter 19">
            <a:extLst>
              <a:ext uri="{FF2B5EF4-FFF2-40B4-BE49-F238E27FC236}">
                <a16:creationId xmlns:a16="http://schemas.microsoft.com/office/drawing/2014/main" id="{577782E2-020B-192E-D849-A5E71437E14D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E80D7435-A8BA-89B1-3045-572F65C8B9C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55021" y="1286419"/>
            <a:ext cx="3809860" cy="1957957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B1C6EB9C-9181-A22A-126F-CA250061F27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95556" y="3606539"/>
            <a:ext cx="3921827" cy="1965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323443"/>
      </p:ext>
    </p:extLst>
  </p:cSld>
  <p:clrMapOvr>
    <a:masterClrMapping/>
  </p:clrMapOvr>
  <p:transition>
    <p:dissolv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B5EF52-47A0-B3B0-3A5A-C338EE278B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ellsignifikanz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7921FBD-3BF8-F651-B28C-4A32C44D14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Praxisumsetzung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2D731793-C634-1050-2DD9-718A71AB7F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089" y="1448673"/>
            <a:ext cx="7991792" cy="806848"/>
          </a:xfrm>
        </p:spPr>
        <p:txBody>
          <a:bodyPr/>
          <a:lstStyle/>
          <a:p>
            <a:pPr marL="0" indent="0">
              <a:buNone/>
            </a:pPr>
            <a:endParaRPr lang="de-DE" dirty="0"/>
          </a:p>
          <a:p>
            <a:pPr lvl="1"/>
            <a:endParaRPr lang="de-DE" dirty="0"/>
          </a:p>
        </p:txBody>
      </p:sp>
      <p:sp>
        <p:nvSpPr>
          <p:cNvPr id="20" name="Inhaltsplatzhalter 19">
            <a:extLst>
              <a:ext uri="{FF2B5EF4-FFF2-40B4-BE49-F238E27FC236}">
                <a16:creationId xmlns:a16="http://schemas.microsoft.com/office/drawing/2014/main" id="{577782E2-020B-192E-D849-A5E71437E14D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16116E25-6A74-CADA-5E0F-C7F0413967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3088" y="3687580"/>
            <a:ext cx="3915795" cy="2025121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10DE7218-74B7-ED9A-CE8C-03A289479F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7056" y="1372579"/>
            <a:ext cx="3921827" cy="1965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301330"/>
      </p:ext>
    </p:extLst>
  </p:cSld>
  <p:clrMapOvr>
    <a:masterClrMapping/>
  </p:clrMapOvr>
  <p:transition>
    <p:dissolv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B5EF52-47A0-B3B0-3A5A-C338EE278B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ellsignifikanz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7921FBD-3BF8-F651-B28C-4A32C44D14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Praxisumsetzung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2D731793-C634-1050-2DD9-718A71AB7F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089" y="1448673"/>
            <a:ext cx="7991792" cy="806848"/>
          </a:xfrm>
        </p:spPr>
        <p:txBody>
          <a:bodyPr/>
          <a:lstStyle/>
          <a:p>
            <a:pPr marL="0" indent="0">
              <a:buNone/>
            </a:pPr>
            <a:endParaRPr lang="de-DE" dirty="0"/>
          </a:p>
          <a:p>
            <a:pPr lvl="1"/>
            <a:endParaRPr lang="de-DE" dirty="0"/>
          </a:p>
        </p:txBody>
      </p:sp>
      <p:sp>
        <p:nvSpPr>
          <p:cNvPr id="20" name="Inhaltsplatzhalter 19">
            <a:extLst>
              <a:ext uri="{FF2B5EF4-FFF2-40B4-BE49-F238E27FC236}">
                <a16:creationId xmlns:a16="http://schemas.microsoft.com/office/drawing/2014/main" id="{577782E2-020B-192E-D849-A5E71437E14D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FF53069-8B31-D076-8B91-6C91390C0C97}"/>
              </a:ext>
            </a:extLst>
          </p:cNvPr>
          <p:cNvSpPr txBox="1">
            <a:spLocks/>
          </p:cNvSpPr>
          <p:nvPr/>
        </p:nvSpPr>
        <p:spPr>
          <a:xfrm>
            <a:off x="573088" y="1448672"/>
            <a:ext cx="8064499" cy="4338321"/>
          </a:xfrm>
          <a:prstGeom prst="rect">
            <a:avLst/>
          </a:prstGeom>
        </p:spPr>
        <p:txBody>
          <a:bodyPr/>
          <a:lstStyle>
            <a:lvl1pPr marL="188913" indent="-188913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65163" indent="-28575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1084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15033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19224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23796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8368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2940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751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de-DE" kern="0" dirty="0"/>
              <a:t>In allen Fällen wurde Nullhypothese abgelehnt</a:t>
            </a:r>
          </a:p>
          <a:p>
            <a:pPr lvl="1"/>
            <a:r>
              <a:rPr lang="de-DE" kern="0" dirty="0">
                <a:sym typeface="Wingdings" panose="05000000000000000000" pitchFamily="2" charset="2"/>
              </a:rPr>
              <a:t> Prognosemodell statistisch signifikant unterschiedlich zu Zufallsmodell</a:t>
            </a:r>
          </a:p>
          <a:p>
            <a:endParaRPr lang="de-DE" kern="0" dirty="0">
              <a:sym typeface="Wingdings" panose="05000000000000000000" pitchFamily="2" charset="2"/>
            </a:endParaRPr>
          </a:p>
          <a:p>
            <a:r>
              <a:rPr lang="de-DE" kern="0" dirty="0">
                <a:sym typeface="Wingdings" panose="05000000000000000000" pitchFamily="2" charset="2"/>
              </a:rPr>
              <a:t>Test trifft keine Aussage über Stärke und Richtung der Unterschiede</a:t>
            </a:r>
          </a:p>
          <a:p>
            <a:pPr lvl="1"/>
            <a:r>
              <a:rPr lang="de-DE" kern="0" dirty="0">
                <a:sym typeface="Wingdings" panose="05000000000000000000" pitchFamily="2" charset="2"/>
              </a:rPr>
              <a:t>Anhaltspunkt: Vergleiche die Werte b und c miteinander</a:t>
            </a:r>
          </a:p>
          <a:p>
            <a:pPr lvl="1"/>
            <a:r>
              <a:rPr lang="de-DE" kern="0" dirty="0">
                <a:sym typeface="Wingdings" panose="05000000000000000000" pitchFamily="2" charset="2"/>
              </a:rPr>
              <a:t>Da in den Prognosemodellen im Vergleich zum Zufallsmodell stets b&gt;c</a:t>
            </a:r>
          </a:p>
          <a:p>
            <a:pPr lvl="2"/>
            <a:r>
              <a:rPr lang="de-DE" kern="0" dirty="0">
                <a:sym typeface="Wingdings" panose="05000000000000000000" pitchFamily="2" charset="2"/>
              </a:rPr>
              <a:t> Prognosemodell statistisch signifikant besser als Zufallsmodell.</a:t>
            </a:r>
            <a:endParaRPr lang="de-DE" kern="0" dirty="0"/>
          </a:p>
        </p:txBody>
      </p:sp>
    </p:spTree>
    <p:extLst>
      <p:ext uri="{BB962C8B-B14F-4D97-AF65-F5344CB8AC3E}">
        <p14:creationId xmlns:p14="http://schemas.microsoft.com/office/powerpoint/2010/main" val="2108392271"/>
      </p:ext>
    </p:extLst>
  </p:cSld>
  <p:clrMapOvr>
    <a:masterClrMapping/>
  </p:clrMapOvr>
  <p:transition>
    <p:dissolv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074053-56C1-1343-4DBA-ADE4C8E128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3EFE8DC-16BD-0256-C87F-2509C57363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Next </a:t>
            </a:r>
            <a:r>
              <a:rPr lang="de-DE" dirty="0" err="1"/>
              <a:t>Steps</a:t>
            </a:r>
            <a:endParaRPr lang="de-DE" dirty="0"/>
          </a:p>
        </p:txBody>
      </p:sp>
      <p:graphicFrame>
        <p:nvGraphicFramePr>
          <p:cNvPr id="7" name="Inhaltsplatzhalter 6">
            <a:extLst>
              <a:ext uri="{FF2B5EF4-FFF2-40B4-BE49-F238E27FC236}">
                <a16:creationId xmlns:a16="http://schemas.microsoft.com/office/drawing/2014/main" id="{994AE0DE-D779-9236-245B-C92C185281C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14218804"/>
              </p:ext>
            </p:extLst>
          </p:nvPr>
        </p:nvGraphicFramePr>
        <p:xfrm>
          <a:off x="573088" y="1448672"/>
          <a:ext cx="8063999" cy="45283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707271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E398DD0-2837-19D0-3FC2-EC64AEE042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B07671E-AEB6-0476-39CB-E486D8CD43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 algn="ctr">
              <a:buNone/>
            </a:pPr>
            <a:r>
              <a:rPr lang="de-DE" sz="2400" dirty="0"/>
              <a:t>Fragen?</a:t>
            </a:r>
          </a:p>
        </p:txBody>
      </p:sp>
    </p:spTree>
    <p:extLst>
      <p:ext uri="{BB962C8B-B14F-4D97-AF65-F5344CB8AC3E}">
        <p14:creationId xmlns:p14="http://schemas.microsoft.com/office/powerpoint/2010/main" val="1230179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gnose der Spielergebnis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Modelle</a:t>
            </a:r>
          </a:p>
        </p:txBody>
      </p:sp>
      <p:pic>
        <p:nvPicPr>
          <p:cNvPr id="13" name="Inhaltsplatzhalter 12" descr="ModelOverview.PNG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73088" y="1809045"/>
            <a:ext cx="8064500" cy="3808236"/>
          </a:xfrm>
        </p:spPr>
      </p:pic>
    </p:spTree>
  </p:cSld>
  <p:clrMapOvr>
    <a:masterClrMapping/>
  </p:clrMapOvr>
  <p:transition>
    <p:dissolv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gnose der Spielergebnis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Feature </a:t>
            </a:r>
            <a:r>
              <a:rPr lang="de-DE" dirty="0" err="1"/>
              <a:t>importance</a:t>
            </a:r>
            <a:endParaRPr lang="de-DE" dirty="0"/>
          </a:p>
        </p:txBody>
      </p:sp>
      <p:pic>
        <p:nvPicPr>
          <p:cNvPr id="5" name="Grafik 4" descr="Feature Importance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8409" y="1170604"/>
            <a:ext cx="8220974" cy="4932585"/>
          </a:xfrm>
          <a:prstGeom prst="rect">
            <a:avLst/>
          </a:prstGeom>
        </p:spPr>
      </p:pic>
    </p:spTree>
  </p:cSld>
  <p:clrMapOvr>
    <a:masterClrMapping/>
  </p:clrMapOvr>
  <p:transition>
    <p:dissolv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pic>
        <p:nvPicPr>
          <p:cNvPr id="5" name="Inhaltsplatzhalter 4" descr="Percentage distribution of the RESULT column.jpeg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32379" y="1449388"/>
            <a:ext cx="7545917" cy="4527550"/>
          </a:xfrm>
        </p:spPr>
      </p:pic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Verteilung der Spielergebnisse</a:t>
            </a:r>
          </a:p>
        </p:txBody>
      </p:sp>
    </p:spTree>
  </p:cSld>
  <p:clrMapOvr>
    <a:masterClrMapping/>
  </p:clrMapOvr>
  <p:transition>
    <p:dissolv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Metriken</a:t>
            </a:r>
            <a:r>
              <a:rPr lang="de-DE" dirty="0"/>
              <a:t>, messen der </a:t>
            </a:r>
            <a:r>
              <a:rPr lang="de-DE" dirty="0" err="1"/>
              <a:t>Prognoseergebnisse</a:t>
            </a:r>
            <a:r>
              <a:rPr lang="de-DE" dirty="0"/>
              <a:t> (</a:t>
            </a:r>
            <a:r>
              <a:rPr lang="de-DE" dirty="0" err="1"/>
              <a:t>Accuracy</a:t>
            </a:r>
            <a:r>
              <a:rPr lang="de-DE" dirty="0"/>
              <a:t>)</a:t>
            </a: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79627" y="1458674"/>
            <a:ext cx="28670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81873" y="5065684"/>
            <a:ext cx="3276600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95751" y="2743200"/>
            <a:ext cx="2457628" cy="2033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4173298" y="2688566"/>
            <a:ext cx="3971925" cy="198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32" name="Picture 8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407434" y="1484554"/>
            <a:ext cx="5512190" cy="6429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>
    <p:dissolv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0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10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10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Metriken</a:t>
            </a:r>
            <a:r>
              <a:rPr lang="de-DE" dirty="0"/>
              <a:t>, messen der </a:t>
            </a:r>
            <a:r>
              <a:rPr lang="de-DE" dirty="0" err="1"/>
              <a:t>Prognoseergebnisse</a:t>
            </a:r>
            <a:r>
              <a:rPr lang="de-DE" dirty="0"/>
              <a:t> (F1-Score)</a:t>
            </a: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91144" y="3184047"/>
            <a:ext cx="5715000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431982" y="3034611"/>
            <a:ext cx="1990725" cy="771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4" name="Picture 6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602121" y="5205773"/>
            <a:ext cx="2076450" cy="828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5" name="Picture 7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446575" y="1623222"/>
            <a:ext cx="3453894" cy="8832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6" name="Picture 8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16932" y="4508108"/>
            <a:ext cx="782002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>
    <p:dissolv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0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20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20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20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Überblick</a:t>
            </a:r>
          </a:p>
        </p:txBody>
      </p:sp>
      <p:pic>
        <p:nvPicPr>
          <p:cNvPr id="56324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578677" y="1488735"/>
            <a:ext cx="3337006" cy="4416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393414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Total </a:t>
            </a:r>
            <a:r>
              <a:rPr lang="de-DE" dirty="0" err="1"/>
              <a:t>Accuracy</a:t>
            </a:r>
            <a:endParaRPr lang="de-DE" dirty="0"/>
          </a:p>
        </p:txBody>
      </p:sp>
      <p:pic>
        <p:nvPicPr>
          <p:cNvPr id="6" name="Grafik 5" descr="Model Performance Based on Total_Accuracy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7751" y="1260896"/>
            <a:ext cx="7280693" cy="4853795"/>
          </a:xfrm>
          <a:prstGeom prst="rect">
            <a:avLst/>
          </a:prstGeom>
        </p:spPr>
      </p:pic>
    </p:spTree>
  </p:cSld>
  <p:clrMapOvr>
    <a:masterClrMapping/>
  </p:clrMapOvr>
  <p:transition>
    <p:dissolv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Total </a:t>
            </a:r>
            <a:r>
              <a:rPr lang="de-DE" dirty="0" err="1"/>
              <a:t>Balanced</a:t>
            </a:r>
            <a:r>
              <a:rPr lang="de-DE" dirty="0"/>
              <a:t> </a:t>
            </a:r>
            <a:r>
              <a:rPr lang="de-DE" dirty="0" err="1"/>
              <a:t>Accuracy</a:t>
            </a:r>
            <a:endParaRPr lang="de-DE" dirty="0"/>
          </a:p>
        </p:txBody>
      </p:sp>
      <p:pic>
        <p:nvPicPr>
          <p:cNvPr id="5" name="Grafik 4" descr="Model Performance Based on Total_Balanced_Accuracy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2860" y="1145878"/>
            <a:ext cx="7455375" cy="4970250"/>
          </a:xfrm>
          <a:prstGeom prst="rect">
            <a:avLst/>
          </a:prstGeom>
        </p:spPr>
      </p:pic>
    </p:spTree>
  </p:cSld>
  <p:clrMapOvr>
    <a:masterClrMapping/>
  </p:clrMapOvr>
  <p:transition>
    <p:dissolv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Total F1-Score </a:t>
            </a:r>
            <a:r>
              <a:rPr lang="de-DE" dirty="0" err="1"/>
              <a:t>class</a:t>
            </a:r>
            <a:r>
              <a:rPr lang="de-DE" dirty="0"/>
              <a:t> 0 (</a:t>
            </a:r>
            <a:r>
              <a:rPr lang="de-DE" dirty="0" err="1"/>
              <a:t>away</a:t>
            </a:r>
            <a:r>
              <a:rPr lang="de-DE" dirty="0"/>
              <a:t> </a:t>
            </a:r>
            <a:r>
              <a:rPr lang="de-DE" dirty="0" err="1"/>
              <a:t>win</a:t>
            </a:r>
            <a:r>
              <a:rPr lang="de-DE" dirty="0"/>
              <a:t>)</a:t>
            </a:r>
          </a:p>
        </p:txBody>
      </p:sp>
      <p:pic>
        <p:nvPicPr>
          <p:cNvPr id="5" name="Grafik 4" descr="Model Performance Based on Total_F1-Score_Class_0 _away win_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4785" y="1178944"/>
            <a:ext cx="7366958" cy="4911306"/>
          </a:xfrm>
          <a:prstGeom prst="rect">
            <a:avLst/>
          </a:prstGeom>
        </p:spPr>
      </p:pic>
    </p:spTree>
  </p:cSld>
  <p:clrMapOvr>
    <a:masterClrMapping/>
  </p:clrMapOvr>
  <p:transition>
    <p:dissolv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est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Balanced</a:t>
            </a:r>
            <a:r>
              <a:rPr lang="de-DE" dirty="0"/>
              <a:t> </a:t>
            </a:r>
            <a:r>
              <a:rPr lang="de-DE" dirty="0" err="1"/>
              <a:t>Accuracy</a:t>
            </a:r>
            <a:endParaRPr lang="de-DE" dirty="0"/>
          </a:p>
        </p:txBody>
      </p:sp>
      <p:pic>
        <p:nvPicPr>
          <p:cNvPr id="5" name="Grafik 4" descr="Top 7 Clubs Based on home_balanced_accuracy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1490" y="1112807"/>
            <a:ext cx="7619280" cy="5079521"/>
          </a:xfrm>
          <a:prstGeom prst="rect">
            <a:avLst/>
          </a:prstGeom>
        </p:spPr>
      </p:pic>
    </p:spTree>
  </p:cSld>
  <p:clrMapOvr>
    <a:masterClrMapping/>
  </p:clrMapOvr>
  <p:transition>
    <p:dissolve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est </a:t>
            </a:r>
            <a:r>
              <a:rPr lang="de-DE" dirty="0" err="1"/>
              <a:t>away</a:t>
            </a:r>
            <a:r>
              <a:rPr lang="de-DE" dirty="0"/>
              <a:t> </a:t>
            </a:r>
            <a:r>
              <a:rPr lang="de-DE" dirty="0" err="1"/>
              <a:t>Balanced</a:t>
            </a:r>
            <a:r>
              <a:rPr lang="de-DE" dirty="0"/>
              <a:t> </a:t>
            </a:r>
            <a:r>
              <a:rPr lang="de-DE" dirty="0" err="1"/>
              <a:t>Accuracy</a:t>
            </a:r>
            <a:endParaRPr lang="de-DE" dirty="0"/>
          </a:p>
        </p:txBody>
      </p:sp>
      <p:pic>
        <p:nvPicPr>
          <p:cNvPr id="5" name="Grafik 4" descr="Top 7 Clubs Based on away_balanced_accuracy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1102" y="1118559"/>
            <a:ext cx="7470475" cy="4980316"/>
          </a:xfrm>
          <a:prstGeom prst="rect">
            <a:avLst/>
          </a:prstGeom>
        </p:spPr>
      </p:pic>
    </p:spTree>
  </p:cSld>
  <p:clrMapOvr>
    <a:masterClrMapping/>
  </p:clrMapOvr>
  <p:transition>
    <p:dissolve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est F1-Scor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win</a:t>
            </a:r>
            <a:endParaRPr lang="de-DE" dirty="0"/>
          </a:p>
        </p:txBody>
      </p:sp>
      <p:pic>
        <p:nvPicPr>
          <p:cNvPr id="5" name="Grafik 4" descr="Top 7 Clubs Based on home_f1-score_class_2 _home win_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1485" y="1108497"/>
            <a:ext cx="7537327" cy="5024885"/>
          </a:xfrm>
          <a:prstGeom prst="rect">
            <a:avLst/>
          </a:prstGeom>
        </p:spPr>
      </p:pic>
    </p:spTree>
  </p:cSld>
  <p:clrMapOvr>
    <a:masterClrMapping/>
  </p:clrMapOvr>
  <p:transition>
    <p:dissolve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est F1-Score </a:t>
            </a:r>
            <a:r>
              <a:rPr lang="de-DE" dirty="0" err="1"/>
              <a:t>away</a:t>
            </a:r>
            <a:r>
              <a:rPr lang="de-DE" dirty="0"/>
              <a:t> </a:t>
            </a:r>
            <a:r>
              <a:rPr lang="de-DE" dirty="0" err="1"/>
              <a:t>win</a:t>
            </a:r>
            <a:endParaRPr lang="de-DE" dirty="0"/>
          </a:p>
        </p:txBody>
      </p:sp>
      <p:pic>
        <p:nvPicPr>
          <p:cNvPr id="5" name="Grafik 4" descr="Top 7 Clubs Based on away_f1-score_class_2 _home win_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2093" y="1111369"/>
            <a:ext cx="7623596" cy="5082397"/>
          </a:xfrm>
          <a:prstGeom prst="rect">
            <a:avLst/>
          </a:prstGeom>
        </p:spPr>
      </p:pic>
    </p:spTree>
  </p:cSld>
  <p:clrMapOvr>
    <a:masterClrMapping/>
  </p:clrMapOvr>
  <p:transition>
    <p:dissolv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9E85D00F-AA0B-C2EF-75C1-6EB48B4FB3E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31135951"/>
              </p:ext>
            </p:extLst>
          </p:nvPr>
        </p:nvGraphicFramePr>
        <p:xfrm>
          <a:off x="573088" y="1448672"/>
          <a:ext cx="8063999" cy="45283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Transfermarkt.d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CFF37613-30A3-A1F1-3C0B-DFD12887191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26663341"/>
              </p:ext>
            </p:extLst>
          </p:nvPr>
        </p:nvGraphicFramePr>
        <p:xfrm>
          <a:off x="573088" y="1430011"/>
          <a:ext cx="8063999" cy="33401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Web-</a:t>
            </a:r>
            <a:r>
              <a:rPr lang="de-DE" dirty="0" err="1"/>
              <a:t>Scraping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7051B69-01C7-D1DF-216B-5B76C763DA89}"/>
              </a:ext>
            </a:extLst>
          </p:cNvPr>
          <p:cNvSpPr txBox="1"/>
          <p:nvPr/>
        </p:nvSpPr>
        <p:spPr>
          <a:xfrm>
            <a:off x="483500" y="6028579"/>
            <a:ext cx="66031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000" baseline="30000" dirty="0">
                <a:solidFill>
                  <a:schemeClr val="tx1"/>
                </a:solidFill>
              </a:rPr>
              <a:t>1</a:t>
            </a:r>
            <a:r>
              <a:rPr lang="de-DE" sz="1000" dirty="0">
                <a:solidFill>
                  <a:schemeClr val="tx1"/>
                </a:solidFill>
              </a:rPr>
              <a:t> </a:t>
            </a:r>
            <a:r>
              <a:rPr lang="de-DE" sz="1000" dirty="0">
                <a:solidFill>
                  <a:schemeClr val="tx1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transfermarkt.de/bundesliga/spieltag/wettbewerb/L1/spieltag/34/saison_id/2022</a:t>
            </a:r>
            <a:r>
              <a:rPr lang="de-DE" sz="1000" dirty="0">
                <a:solidFill>
                  <a:schemeClr val="tx1"/>
                </a:solidFill>
              </a:rPr>
              <a:t> (z. B.)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0455E42-75B9-0940-1B99-FD1A4D89C18D}"/>
              </a:ext>
            </a:extLst>
          </p:cNvPr>
          <p:cNvSpPr txBox="1"/>
          <p:nvPr/>
        </p:nvSpPr>
        <p:spPr>
          <a:xfrm>
            <a:off x="572400" y="1473200"/>
            <a:ext cx="80639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600" dirty="0" err="1">
                <a:solidFill>
                  <a:schemeClr val="tx1"/>
                </a:solidFill>
              </a:rPr>
              <a:t>Scrapen</a:t>
            </a:r>
            <a:r>
              <a:rPr lang="de-DE" sz="1600" dirty="0">
                <a:solidFill>
                  <a:schemeClr val="tx1"/>
                </a:solidFill>
              </a:rPr>
              <a:t> der Daten zu </a:t>
            </a:r>
            <a:r>
              <a:rPr lang="de-DE" sz="1600" b="1" dirty="0">
                <a:solidFill>
                  <a:schemeClr val="tx1"/>
                </a:solidFill>
              </a:rPr>
              <a:t>Bundesliga-Spieltagen</a:t>
            </a:r>
            <a:r>
              <a:rPr lang="de-DE" sz="1600" baseline="30000" dirty="0">
                <a:solidFill>
                  <a:schemeClr val="tx1"/>
                </a:solidFill>
              </a:rPr>
              <a:t>1</a:t>
            </a:r>
            <a:r>
              <a:rPr lang="de-DE" sz="1600" dirty="0">
                <a:solidFill>
                  <a:schemeClr val="tx1"/>
                </a:solidFill>
              </a:rPr>
              <a:t> unter Verwendung von </a:t>
            </a:r>
            <a:r>
              <a:rPr lang="de-DE" sz="1600" i="1" dirty="0" err="1">
                <a:solidFill>
                  <a:schemeClr val="tx1"/>
                </a:solidFill>
              </a:rPr>
              <a:t>BeautifulSoup</a:t>
            </a:r>
            <a:r>
              <a:rPr lang="de-DE" sz="1600" dirty="0">
                <a:solidFill>
                  <a:schemeClr val="tx1"/>
                </a:solidFill>
              </a:rPr>
              <a:t> in Python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Grundsätzlich für alle auf Transfermarkt verfügbaren Ligen anwendbar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5DDE223-9D09-5527-0D73-8D37B838577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95294" y="3763180"/>
            <a:ext cx="6753412" cy="210024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CFF37613-30A3-A1F1-3C0B-DFD12887191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28801984"/>
              </p:ext>
            </p:extLst>
          </p:nvPr>
        </p:nvGraphicFramePr>
        <p:xfrm>
          <a:off x="573088" y="1465567"/>
          <a:ext cx="8063999" cy="33401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Web-</a:t>
            </a:r>
            <a:r>
              <a:rPr lang="de-DE" dirty="0" err="1"/>
              <a:t>Scraping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7051B69-01C7-D1DF-216B-5B76C763DA89}"/>
              </a:ext>
            </a:extLst>
          </p:cNvPr>
          <p:cNvSpPr txBox="1"/>
          <p:nvPr/>
        </p:nvSpPr>
        <p:spPr>
          <a:xfrm>
            <a:off x="483500" y="6028579"/>
            <a:ext cx="66031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000" baseline="30000" dirty="0">
                <a:solidFill>
                  <a:schemeClr val="tx1"/>
                </a:solidFill>
              </a:rPr>
              <a:t>1</a:t>
            </a:r>
            <a:r>
              <a:rPr lang="de-DE" sz="1000" dirty="0">
                <a:solidFill>
                  <a:schemeClr val="tx1"/>
                </a:solidFill>
              </a:rPr>
              <a:t> https://www.transfermarkt.de/bundesliga/startseite/wettbewerb/L1/plus/?saison_id=2022 (z. B.)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0455E42-75B9-0940-1B99-FD1A4D89C18D}"/>
              </a:ext>
            </a:extLst>
          </p:cNvPr>
          <p:cNvSpPr txBox="1"/>
          <p:nvPr/>
        </p:nvSpPr>
        <p:spPr>
          <a:xfrm>
            <a:off x="572400" y="1473200"/>
            <a:ext cx="806399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600" dirty="0" err="1">
                <a:solidFill>
                  <a:schemeClr val="tx1"/>
                </a:solidFill>
              </a:rPr>
              <a:t>Scrapen</a:t>
            </a:r>
            <a:r>
              <a:rPr lang="de-DE" sz="1600" dirty="0">
                <a:solidFill>
                  <a:schemeClr val="tx1"/>
                </a:solidFill>
              </a:rPr>
              <a:t> der Daten zu </a:t>
            </a:r>
            <a:r>
              <a:rPr lang="de-DE" sz="1600" b="1" dirty="0">
                <a:solidFill>
                  <a:schemeClr val="tx1"/>
                </a:solidFill>
              </a:rPr>
              <a:t>Bundesliga-Vereinen</a:t>
            </a:r>
            <a:r>
              <a:rPr lang="de-DE" sz="1600" baseline="30000" dirty="0">
                <a:solidFill>
                  <a:schemeClr val="tx1"/>
                </a:solidFill>
              </a:rPr>
              <a:t>1</a:t>
            </a:r>
            <a:r>
              <a:rPr lang="de-DE" sz="1600" dirty="0">
                <a:solidFill>
                  <a:schemeClr val="tx1"/>
                </a:solidFill>
              </a:rPr>
              <a:t> unter Verwendung von </a:t>
            </a:r>
            <a:r>
              <a:rPr lang="de-DE" sz="1600" i="1" dirty="0" err="1">
                <a:solidFill>
                  <a:schemeClr val="tx1"/>
                </a:solidFill>
              </a:rPr>
              <a:t>BeautifulSoup</a:t>
            </a:r>
            <a:r>
              <a:rPr lang="de-DE" sz="1600" dirty="0">
                <a:solidFill>
                  <a:schemeClr val="tx1"/>
                </a:solidFill>
              </a:rPr>
              <a:t> in Python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Saison ab 1965 erstmalig mit 18 Vereinen statt 16 Vereinen, 1991 mit 20 Vereinen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Marktwerte erst ab 2004 verfügbar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8F15C77D-CDC2-587A-D8B5-0CBAA59635D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31684" y="4018697"/>
            <a:ext cx="5345430" cy="1945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4516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CFF37613-30A3-A1F1-3C0B-DFD12887191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73249809"/>
              </p:ext>
            </p:extLst>
          </p:nvPr>
        </p:nvGraphicFramePr>
        <p:xfrm>
          <a:off x="573088" y="1536700"/>
          <a:ext cx="8063999" cy="33401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Web-</a:t>
            </a:r>
            <a:r>
              <a:rPr lang="de-DE" dirty="0" err="1"/>
              <a:t>Scraping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7051B69-01C7-D1DF-216B-5B76C763DA89}"/>
              </a:ext>
            </a:extLst>
          </p:cNvPr>
          <p:cNvSpPr txBox="1"/>
          <p:nvPr/>
        </p:nvSpPr>
        <p:spPr>
          <a:xfrm>
            <a:off x="483500" y="6028579"/>
            <a:ext cx="66031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000" baseline="30000" dirty="0">
                <a:solidFill>
                  <a:schemeClr val="tx1"/>
                </a:solidFill>
              </a:rPr>
              <a:t>1</a:t>
            </a:r>
            <a:r>
              <a:rPr lang="de-DE" sz="1000" dirty="0">
                <a:solidFill>
                  <a:schemeClr val="tx1"/>
                </a:solidFill>
              </a:rPr>
              <a:t> </a:t>
            </a:r>
            <a:r>
              <a:rPr lang="de-DE" sz="800" dirty="0">
                <a:solidFill>
                  <a:schemeClr val="tx1"/>
                </a:solidFill>
              </a:rPr>
              <a:t>https://www.transfermarkt.de/bundesliga/transfers/wettbewerb/L1/plus/?saison_id={2022}&amp;s_w=&amp;leihe=1&amp;intern=0&amp;intern=1 (z. B.)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0455E42-75B9-0940-1B99-FD1A4D89C18D}"/>
              </a:ext>
            </a:extLst>
          </p:cNvPr>
          <p:cNvSpPr txBox="1"/>
          <p:nvPr/>
        </p:nvSpPr>
        <p:spPr>
          <a:xfrm>
            <a:off x="572400" y="1473200"/>
            <a:ext cx="80639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600" dirty="0" err="1">
                <a:solidFill>
                  <a:schemeClr val="tx1"/>
                </a:solidFill>
              </a:rPr>
              <a:t>Scrapen</a:t>
            </a:r>
            <a:r>
              <a:rPr lang="de-DE" sz="1600" dirty="0">
                <a:solidFill>
                  <a:schemeClr val="tx1"/>
                </a:solidFill>
              </a:rPr>
              <a:t> der Daten zur </a:t>
            </a:r>
            <a:r>
              <a:rPr lang="de-DE" sz="1600" b="1" dirty="0">
                <a:solidFill>
                  <a:schemeClr val="tx1"/>
                </a:solidFill>
              </a:rPr>
              <a:t>Bundesliga-Transferübersicht</a:t>
            </a:r>
            <a:r>
              <a:rPr lang="de-DE" sz="1600" baseline="30000" dirty="0">
                <a:solidFill>
                  <a:schemeClr val="tx1"/>
                </a:solidFill>
              </a:rPr>
              <a:t>1</a:t>
            </a:r>
            <a:r>
              <a:rPr lang="de-DE" sz="1600" dirty="0">
                <a:solidFill>
                  <a:schemeClr val="tx1"/>
                </a:solidFill>
              </a:rPr>
              <a:t> unter Verwendung von </a:t>
            </a:r>
            <a:r>
              <a:rPr lang="de-DE" sz="1600" i="1" dirty="0" err="1">
                <a:solidFill>
                  <a:schemeClr val="tx1"/>
                </a:solidFill>
              </a:rPr>
              <a:t>BeautifulSoup</a:t>
            </a:r>
            <a:r>
              <a:rPr lang="de-DE" sz="1600" dirty="0">
                <a:solidFill>
                  <a:schemeClr val="tx1"/>
                </a:solidFill>
              </a:rPr>
              <a:t> in Python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Marktwerte erst ab 2004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68010221-4AA1-D7B6-CEC4-1BA07ED4D5B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36359" y="3999751"/>
            <a:ext cx="6736080" cy="1881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0225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CFF37613-30A3-A1F1-3C0B-DFD12887191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62534166"/>
              </p:ext>
            </p:extLst>
          </p:nvPr>
        </p:nvGraphicFramePr>
        <p:xfrm>
          <a:off x="573088" y="1536700"/>
          <a:ext cx="8063999" cy="33401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Web-</a:t>
            </a:r>
            <a:r>
              <a:rPr lang="de-DE" dirty="0" err="1"/>
              <a:t>Scraping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7051B69-01C7-D1DF-216B-5B76C763DA89}"/>
              </a:ext>
            </a:extLst>
          </p:cNvPr>
          <p:cNvSpPr txBox="1"/>
          <p:nvPr/>
        </p:nvSpPr>
        <p:spPr>
          <a:xfrm>
            <a:off x="483500" y="6028579"/>
            <a:ext cx="66031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000" baseline="30000" dirty="0">
                <a:solidFill>
                  <a:schemeClr val="tx1"/>
                </a:solidFill>
              </a:rPr>
              <a:t>1</a:t>
            </a:r>
            <a:r>
              <a:rPr lang="de-DE" sz="1000" dirty="0">
                <a:solidFill>
                  <a:schemeClr val="tx1"/>
                </a:solidFill>
              </a:rPr>
              <a:t> </a:t>
            </a:r>
            <a:r>
              <a:rPr lang="de-DE" sz="800" dirty="0">
                <a:solidFill>
                  <a:schemeClr val="tx1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wetterkontor.de/de/wetter/deutschland/extremwerte.asp?id=20110101</a:t>
            </a:r>
            <a:r>
              <a:rPr lang="de-DE" sz="800" dirty="0">
                <a:solidFill>
                  <a:schemeClr val="tx1"/>
                </a:solidFill>
              </a:rPr>
              <a:t> (z. B.)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0455E42-75B9-0940-1B99-FD1A4D89C18D}"/>
              </a:ext>
            </a:extLst>
          </p:cNvPr>
          <p:cNvSpPr txBox="1"/>
          <p:nvPr/>
        </p:nvSpPr>
        <p:spPr>
          <a:xfrm>
            <a:off x="572400" y="1473200"/>
            <a:ext cx="8063999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600" dirty="0" err="1">
                <a:solidFill>
                  <a:schemeClr val="tx1"/>
                </a:solidFill>
              </a:rPr>
              <a:t>Scrapen</a:t>
            </a:r>
            <a:r>
              <a:rPr lang="de-DE" sz="1600" dirty="0">
                <a:solidFill>
                  <a:schemeClr val="tx1"/>
                </a:solidFill>
              </a:rPr>
              <a:t> von täglichen </a:t>
            </a:r>
            <a:r>
              <a:rPr lang="de-DE" sz="1600" b="1" dirty="0">
                <a:solidFill>
                  <a:schemeClr val="tx1"/>
                </a:solidFill>
              </a:rPr>
              <a:t>Wetterdaten</a:t>
            </a:r>
            <a:r>
              <a:rPr lang="de-DE" sz="1600" baseline="30000" dirty="0">
                <a:solidFill>
                  <a:schemeClr val="tx1"/>
                </a:solidFill>
              </a:rPr>
              <a:t>1</a:t>
            </a:r>
            <a:r>
              <a:rPr lang="de-DE" sz="1600" dirty="0">
                <a:solidFill>
                  <a:schemeClr val="tx1"/>
                </a:solidFill>
              </a:rPr>
              <a:t> unter Verwendung von </a:t>
            </a:r>
            <a:r>
              <a:rPr lang="de-DE" sz="1600" i="1" dirty="0" err="1">
                <a:solidFill>
                  <a:schemeClr val="tx1"/>
                </a:solidFill>
              </a:rPr>
              <a:t>BeautifulSoup</a:t>
            </a:r>
            <a:r>
              <a:rPr lang="de-DE" sz="1600" dirty="0">
                <a:solidFill>
                  <a:schemeClr val="tx1"/>
                </a:solidFill>
              </a:rPr>
              <a:t> in Python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300" dirty="0">
                <a:solidFill>
                  <a:schemeClr val="tx1"/>
                </a:solidFill>
              </a:rPr>
              <a:t>Wetterdaten erst ab 2011-01-01 (Imputation für Vergangenheitsdaten)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300" dirty="0">
                <a:solidFill>
                  <a:schemeClr val="tx1"/>
                </a:solidFill>
              </a:rPr>
              <a:t>Stadt </a:t>
            </a:r>
            <a:r>
              <a:rPr lang="de-DE" sz="1300" dirty="0">
                <a:solidFill>
                  <a:schemeClr val="tx1"/>
                </a:solidFill>
                <a:sym typeface="Wingdings" panose="05000000000000000000" pitchFamily="2" charset="2"/>
              </a:rPr>
              <a:t></a:t>
            </a:r>
            <a:r>
              <a:rPr lang="de-DE" sz="1300" dirty="0">
                <a:solidFill>
                  <a:schemeClr val="tx1"/>
                </a:solidFill>
              </a:rPr>
              <a:t> Wetterstationen (manuelles </a:t>
            </a:r>
            <a:r>
              <a:rPr lang="de-DE" sz="1300" dirty="0" err="1">
                <a:solidFill>
                  <a:schemeClr val="tx1"/>
                </a:solidFill>
              </a:rPr>
              <a:t>Matching</a:t>
            </a:r>
            <a:r>
              <a:rPr lang="de-DE" sz="1300" dirty="0">
                <a:solidFill>
                  <a:schemeClr val="tx1"/>
                </a:solidFill>
              </a:rPr>
              <a:t> notwendig)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300" dirty="0">
                <a:solidFill>
                  <a:schemeClr val="tx1"/>
                </a:solidFill>
              </a:rPr>
              <a:t>Wetterprognosen für die Zukunft </a:t>
            </a:r>
            <a:r>
              <a:rPr lang="de-DE" sz="1300" dirty="0" err="1">
                <a:solidFill>
                  <a:schemeClr val="tx1"/>
                </a:solidFill>
              </a:rPr>
              <a:t>scrapen</a:t>
            </a:r>
            <a:r>
              <a:rPr lang="de-DE" sz="1300" dirty="0">
                <a:solidFill>
                  <a:schemeClr val="tx1"/>
                </a:solidFill>
              </a:rPr>
              <a:t>?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B05A71C2-3413-1CBC-1C06-0BCEAA4B35A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274395" y="4032199"/>
            <a:ext cx="4660008" cy="1842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6745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9C1DBF-08C5-3891-7F27-61372FB3B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	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93EDF79-875E-82CF-D05E-06E2B216A2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Datenanalyse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50B8DBCA-6FC7-4F83-CE7D-2AE1886194BF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8144" y="1578035"/>
            <a:ext cx="5294387" cy="4270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87038663"/>
      </p:ext>
    </p:extLst>
  </p:cSld>
  <p:clrMapOvr>
    <a:masterClrMapping/>
  </p:clrMapOvr>
  <p:transition>
    <p:dissolv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NggB5j5u4R9y848IjgMA"/>
</p:tagLst>
</file>

<file path=ppt/theme/theme1.xml><?xml version="1.0" encoding="utf-8"?>
<a:theme xmlns:a="http://schemas.openxmlformats.org/drawingml/2006/main" name="Leere Präsentation">
  <a:themeElements>
    <a:clrScheme name="Leere Präsentation 2">
      <a:dk1>
        <a:srgbClr val="000000"/>
      </a:dk1>
      <a:lt1>
        <a:srgbClr val="FFFFFF"/>
      </a:lt1>
      <a:dk2>
        <a:srgbClr val="005EAD"/>
      </a:dk2>
      <a:lt2>
        <a:srgbClr val="000000"/>
      </a:lt2>
      <a:accent1>
        <a:srgbClr val="C0C0C0"/>
      </a:accent1>
      <a:accent2>
        <a:srgbClr val="005EAD"/>
      </a:accent2>
      <a:accent3>
        <a:srgbClr val="FFFFFF"/>
      </a:accent3>
      <a:accent4>
        <a:srgbClr val="000000"/>
      </a:accent4>
      <a:accent5>
        <a:srgbClr val="DCDCDC"/>
      </a:accent5>
      <a:accent6>
        <a:srgbClr val="00549C"/>
      </a:accent6>
      <a:hlink>
        <a:srgbClr val="B2B2B2"/>
      </a:hlink>
      <a:folHlink>
        <a:srgbClr val="000000"/>
      </a:folHlink>
    </a:clrScheme>
    <a:fontScheme name="Leere Prä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 xmlns="">
              <a:solidFill>
                <a:schemeClr val="accent2"/>
              </a:solidFill>
            </a14:hiddenFill>
          </a:ex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 xmlns="">
              <a:solidFill>
                <a:schemeClr val="accent2"/>
              </a:solidFill>
            </a14:hiddenFill>
          </a:ex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ln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33CC"/>
        </a:dk2>
        <a:lt2>
          <a:srgbClr val="000000"/>
        </a:lt2>
        <a:accent1>
          <a:srgbClr val="3399FF"/>
        </a:accent1>
        <a:accent2>
          <a:srgbClr val="0033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002DB9"/>
        </a:accent6>
        <a:hlink>
          <a:srgbClr val="CC00CC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5EAD"/>
        </a:dk2>
        <a:lt2>
          <a:srgbClr val="000000"/>
        </a:lt2>
        <a:accent1>
          <a:srgbClr val="C0C0C0"/>
        </a:accent1>
        <a:accent2>
          <a:srgbClr val="005EAD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49C"/>
        </a:accent6>
        <a:hlink>
          <a:srgbClr val="B2B2B2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acintosh HD:PROGRAMME:Microsoft Office 98:Vorlagen:Leere Präsentation</Template>
  <TotalTime>0</TotalTime>
  <Words>974</Words>
  <Application>Microsoft Office PowerPoint</Application>
  <PresentationFormat>Bildschirmpräsentation (4:3)</PresentationFormat>
  <Paragraphs>279</Paragraphs>
  <Slides>36</Slides>
  <Notes>0</Notes>
  <HiddenSlides>1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36</vt:i4>
      </vt:variant>
      <vt:variant>
        <vt:lpstr>Zielgruppenorientierte Präsentationen</vt:lpstr>
      </vt:variant>
      <vt:variant>
        <vt:i4>1</vt:i4>
      </vt:variant>
    </vt:vector>
  </HeadingPairs>
  <TitlesOfParts>
    <vt:vector size="44" baseType="lpstr">
      <vt:lpstr>Arial</vt:lpstr>
      <vt:lpstr>Calibri</vt:lpstr>
      <vt:lpstr>Cambria Math</vt:lpstr>
      <vt:lpstr>Syntax</vt:lpstr>
      <vt:lpstr>Times</vt:lpstr>
      <vt:lpstr>Wingdings</vt:lpstr>
      <vt:lpstr>Leere Präsentation</vt:lpstr>
      <vt:lpstr>Web Mining</vt:lpstr>
      <vt:lpstr>Web Mining</vt:lpstr>
      <vt:lpstr>Web Mining</vt:lpstr>
      <vt:lpstr>Web Mining</vt:lpstr>
      <vt:lpstr>Web Mining</vt:lpstr>
      <vt:lpstr>Web Mining</vt:lpstr>
      <vt:lpstr>Web Mining</vt:lpstr>
      <vt:lpstr>Web Mining</vt:lpstr>
      <vt:lpstr>Web Mining </vt:lpstr>
      <vt:lpstr>Web Mining </vt:lpstr>
      <vt:lpstr>Web Mining </vt:lpstr>
      <vt:lpstr>Web Mining </vt:lpstr>
      <vt:lpstr>Web Mining </vt:lpstr>
      <vt:lpstr>Web Mining </vt:lpstr>
      <vt:lpstr>Web Mining </vt:lpstr>
      <vt:lpstr>Web Mining </vt:lpstr>
      <vt:lpstr>Benchmark</vt:lpstr>
      <vt:lpstr>Modellsignifikanz</vt:lpstr>
      <vt:lpstr>Modellsignifikanz</vt:lpstr>
      <vt:lpstr>Modellsignifikanz</vt:lpstr>
      <vt:lpstr>Modellsignifikanz</vt:lpstr>
      <vt:lpstr>Modellsignifikanz</vt:lpstr>
      <vt:lpstr>Web Mining</vt:lpstr>
      <vt:lpstr>Web Mining</vt:lpstr>
      <vt:lpstr>Prognose der Spielergebnisse</vt:lpstr>
      <vt:lpstr>Prognose der Spielergebnisse</vt:lpstr>
      <vt:lpstr>Ergebnisanalyse</vt:lpstr>
      <vt:lpstr>Ergebnisanalyse</vt:lpstr>
      <vt:lpstr>Ergebnisanalyse</vt:lpstr>
      <vt:lpstr>Ergebnisanalyse</vt:lpstr>
      <vt:lpstr>Ergebnisanalyse</vt:lpstr>
      <vt:lpstr>Ergebnisanalyse</vt:lpstr>
      <vt:lpstr>Ergebnisanalyse</vt:lpstr>
      <vt:lpstr>Ergebnisanalyse</vt:lpstr>
      <vt:lpstr>Ergebnisanalyse</vt:lpstr>
      <vt:lpstr>Ergebnisanalyse</vt:lpstr>
      <vt:lpstr>Mustermann1</vt:lpstr>
    </vt:vector>
  </TitlesOfParts>
  <Company>Susanne Hamp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chhochschule Südwestfalen</dc:title>
  <dc:creator>Susanne Hampe</dc:creator>
  <cp:lastModifiedBy>Kevin Diec, Vodafone</cp:lastModifiedBy>
  <cp:revision>654</cp:revision>
  <cp:lastPrinted>2010-04-29T14:30:22Z</cp:lastPrinted>
  <dcterms:created xsi:type="dcterms:W3CDTF">2010-04-29T12:39:23Z</dcterms:created>
  <dcterms:modified xsi:type="dcterms:W3CDTF">2023-09-10T16:51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359f705-2ba0-454b-9cfc-6ce5bcaac040_Enabled">
    <vt:lpwstr>true</vt:lpwstr>
  </property>
  <property fmtid="{D5CDD505-2E9C-101B-9397-08002B2CF9AE}" pid="3" name="MSIP_Label_0359f705-2ba0-454b-9cfc-6ce5bcaac040_SetDate">
    <vt:lpwstr>2023-09-10T16:50:59Z</vt:lpwstr>
  </property>
  <property fmtid="{D5CDD505-2E9C-101B-9397-08002B2CF9AE}" pid="4" name="MSIP_Label_0359f705-2ba0-454b-9cfc-6ce5bcaac040_Method">
    <vt:lpwstr>Standard</vt:lpwstr>
  </property>
  <property fmtid="{D5CDD505-2E9C-101B-9397-08002B2CF9AE}" pid="5" name="MSIP_Label_0359f705-2ba0-454b-9cfc-6ce5bcaac040_Name">
    <vt:lpwstr>0359f705-2ba0-454b-9cfc-6ce5bcaac040</vt:lpwstr>
  </property>
  <property fmtid="{D5CDD505-2E9C-101B-9397-08002B2CF9AE}" pid="6" name="MSIP_Label_0359f705-2ba0-454b-9cfc-6ce5bcaac040_SiteId">
    <vt:lpwstr>68283f3b-8487-4c86-adb3-a5228f18b893</vt:lpwstr>
  </property>
  <property fmtid="{D5CDD505-2E9C-101B-9397-08002B2CF9AE}" pid="7" name="MSIP_Label_0359f705-2ba0-454b-9cfc-6ce5bcaac040_ActionId">
    <vt:lpwstr>c7fb8159-a651-4504-9bcc-abc68732bb83</vt:lpwstr>
  </property>
  <property fmtid="{D5CDD505-2E9C-101B-9397-08002B2CF9AE}" pid="8" name="MSIP_Label_0359f705-2ba0-454b-9cfc-6ce5bcaac040_ContentBits">
    <vt:lpwstr>2</vt:lpwstr>
  </property>
</Properties>
</file>